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272" r:id="rId5"/>
    <p:sldId id="2147309983" r:id="rId6"/>
    <p:sldId id="2147309992" r:id="rId7"/>
    <p:sldId id="2147310020" r:id="rId8"/>
    <p:sldId id="2134805472" r:id="rId9"/>
  </p:sldIdLst>
  <p:sldSz cx="12192000" cy="6858000"/>
  <p:notesSz cx="6797675" cy="9928225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A37CAAC-C8D4-4882-9E3C-5346037402EF}">
          <p14:sldIdLst>
            <p14:sldId id="272"/>
            <p14:sldId id="2147309983"/>
            <p14:sldId id="2147309992"/>
            <p14:sldId id="2147310020"/>
            <p14:sldId id="21348054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D0C8"/>
    <a:srgbClr val="74AD2B"/>
    <a:srgbClr val="99CC00"/>
    <a:srgbClr val="FFFFFF"/>
    <a:srgbClr val="0099FF"/>
    <a:srgbClr val="E9FDF3"/>
    <a:srgbClr val="39E991"/>
    <a:srgbClr val="63BE7B"/>
    <a:srgbClr val="FCFEFC"/>
    <a:srgbClr val="F869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417051-4E1B-4F99-90F7-7C35098E71C9}" v="716" dt="2024-09-18T22:11:54.116"/>
    <p1510:client id="{C49C2598-DE4D-4CD0-A197-C1971AACDF4C}" v="1858" dt="2024-09-18T22:25:46.66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an Enrique Córdova Woo" userId="48e678bc-df39-4a8a-a383-6b816eb75cf2" providerId="ADAL" clId="{7F916F24-8C26-4DE1-A5BE-D0E5DFB0B6F5}"/>
    <pc:docChg chg="undo redo custSel addSld modSld modSection">
      <pc:chgData name="Juan Enrique Córdova Woo" userId="48e678bc-df39-4a8a-a383-6b816eb75cf2" providerId="ADAL" clId="{7F916F24-8C26-4DE1-A5BE-D0E5DFB0B6F5}" dt="2024-07-18T19:35:56.868" v="1370" actId="6549"/>
      <pc:docMkLst>
        <pc:docMk/>
      </pc:docMkLst>
      <pc:sldChg chg="modSp mod">
        <pc:chgData name="Juan Enrique Córdova Woo" userId="48e678bc-df39-4a8a-a383-6b816eb75cf2" providerId="ADAL" clId="{7F916F24-8C26-4DE1-A5BE-D0E5DFB0B6F5}" dt="2024-07-17T21:04:38.906" v="522" actId="2165"/>
        <pc:sldMkLst>
          <pc:docMk/>
          <pc:sldMk cId="3730778646" sldId="2147309983"/>
        </pc:sldMkLst>
        <pc:graphicFrameChg chg="modGraphic">
          <ac:chgData name="Juan Enrique Córdova Woo" userId="48e678bc-df39-4a8a-a383-6b816eb75cf2" providerId="ADAL" clId="{7F916F24-8C26-4DE1-A5BE-D0E5DFB0B6F5}" dt="2024-07-17T21:04:38.906" v="522" actId="2165"/>
          <ac:graphicFrameMkLst>
            <pc:docMk/>
            <pc:sldMk cId="3730778646" sldId="2147309983"/>
            <ac:graphicFrameMk id="2" creationId="{75F28477-55F2-A417-EBF1-D61943C64A04}"/>
          </ac:graphicFrameMkLst>
        </pc:graphicFrameChg>
      </pc:sldChg>
      <pc:sldChg chg="addSp delSp modSp mod addAnim delAnim">
        <pc:chgData name="Juan Enrique Córdova Woo" userId="48e678bc-df39-4a8a-a383-6b816eb75cf2" providerId="ADAL" clId="{7F916F24-8C26-4DE1-A5BE-D0E5DFB0B6F5}" dt="2024-07-18T19:24:42.866" v="1004" actId="554"/>
        <pc:sldMkLst>
          <pc:docMk/>
          <pc:sldMk cId="3859250616" sldId="2147310010"/>
        </pc:sldMkLst>
        <pc:spChg chg="mod">
          <ac:chgData name="Juan Enrique Córdova Woo" userId="48e678bc-df39-4a8a-a383-6b816eb75cf2" providerId="ADAL" clId="{7F916F24-8C26-4DE1-A5BE-D0E5DFB0B6F5}" dt="2024-07-18T19:24:42.866" v="1004" actId="554"/>
          <ac:spMkLst>
            <pc:docMk/>
            <pc:sldMk cId="3859250616" sldId="2147310010"/>
            <ac:spMk id="2" creationId="{B69CE8D9-C56E-D8EE-E529-AAAE8056EDE1}"/>
          </ac:spMkLst>
        </pc:spChg>
        <pc:spChg chg="mod">
          <ac:chgData name="Juan Enrique Córdova Woo" userId="48e678bc-df39-4a8a-a383-6b816eb75cf2" providerId="ADAL" clId="{7F916F24-8C26-4DE1-A5BE-D0E5DFB0B6F5}" dt="2024-07-18T15:45:26.333" v="746" actId="553"/>
          <ac:spMkLst>
            <pc:docMk/>
            <pc:sldMk cId="3859250616" sldId="2147310010"/>
            <ac:spMk id="5" creationId="{F4BE04F7-C72A-089C-779D-D1A62994E475}"/>
          </ac:spMkLst>
        </pc:spChg>
        <pc:spChg chg="add del mod">
          <ac:chgData name="Juan Enrique Córdova Woo" userId="48e678bc-df39-4a8a-a383-6b816eb75cf2" providerId="ADAL" clId="{7F916F24-8C26-4DE1-A5BE-D0E5DFB0B6F5}" dt="2024-07-18T15:45:26.333" v="746" actId="553"/>
          <ac:spMkLst>
            <pc:docMk/>
            <pc:sldMk cId="3859250616" sldId="2147310010"/>
            <ac:spMk id="11" creationId="{DC3BD483-F9C1-8DFE-E338-7EA0168F4F08}"/>
          </ac:spMkLst>
        </pc:spChg>
        <pc:spChg chg="mod">
          <ac:chgData name="Juan Enrique Córdova Woo" userId="48e678bc-df39-4a8a-a383-6b816eb75cf2" providerId="ADAL" clId="{7F916F24-8C26-4DE1-A5BE-D0E5DFB0B6F5}" dt="2024-07-18T15:45:26.333" v="746" actId="553"/>
          <ac:spMkLst>
            <pc:docMk/>
            <pc:sldMk cId="3859250616" sldId="2147310010"/>
            <ac:spMk id="18" creationId="{759FCAA5-0F4B-EA09-2DB6-65D631756F27}"/>
          </ac:spMkLst>
        </pc:spChg>
        <pc:spChg chg="mod">
          <ac:chgData name="Juan Enrique Córdova Woo" userId="48e678bc-df39-4a8a-a383-6b816eb75cf2" providerId="ADAL" clId="{7F916F24-8C26-4DE1-A5BE-D0E5DFB0B6F5}" dt="2024-07-18T15:32:46.280" v="570" actId="1036"/>
          <ac:spMkLst>
            <pc:docMk/>
            <pc:sldMk cId="3859250616" sldId="2147310010"/>
            <ac:spMk id="95" creationId="{1E36C828-9251-7A0D-8548-438D1BC31F5A}"/>
          </ac:spMkLst>
        </pc:spChg>
        <pc:spChg chg="add del mod">
          <ac:chgData name="Juan Enrique Córdova Woo" userId="48e678bc-df39-4a8a-a383-6b816eb75cf2" providerId="ADAL" clId="{7F916F24-8C26-4DE1-A5BE-D0E5DFB0B6F5}" dt="2024-07-18T15:45:26.333" v="746" actId="553"/>
          <ac:spMkLst>
            <pc:docMk/>
            <pc:sldMk cId="3859250616" sldId="2147310010"/>
            <ac:spMk id="99" creationId="{C0D5A59D-44DB-E684-9DB1-3A9CDE79691A}"/>
          </ac:spMkLst>
        </pc:spChg>
        <pc:spChg chg="add del mod">
          <ac:chgData name="Juan Enrique Córdova Woo" userId="48e678bc-df39-4a8a-a383-6b816eb75cf2" providerId="ADAL" clId="{7F916F24-8C26-4DE1-A5BE-D0E5DFB0B6F5}" dt="2024-07-18T15:32:46.280" v="570" actId="1036"/>
          <ac:spMkLst>
            <pc:docMk/>
            <pc:sldMk cId="3859250616" sldId="2147310010"/>
            <ac:spMk id="101" creationId="{F56E5407-E8CF-1457-A0E3-B6C96658378F}"/>
          </ac:spMkLst>
        </pc:spChg>
        <pc:spChg chg="mod">
          <ac:chgData name="Juan Enrique Córdova Woo" userId="48e678bc-df39-4a8a-a383-6b816eb75cf2" providerId="ADAL" clId="{7F916F24-8C26-4DE1-A5BE-D0E5DFB0B6F5}" dt="2024-07-18T15:38:11.133" v="694" actId="1035"/>
          <ac:spMkLst>
            <pc:docMk/>
            <pc:sldMk cId="3859250616" sldId="2147310010"/>
            <ac:spMk id="105" creationId="{73D40486-DE55-3DA7-2940-6686DB4563A5}"/>
          </ac:spMkLst>
        </pc:spChg>
        <pc:spChg chg="add del mod">
          <ac:chgData name="Juan Enrique Córdova Woo" userId="48e678bc-df39-4a8a-a383-6b816eb75cf2" providerId="ADAL" clId="{7F916F24-8C26-4DE1-A5BE-D0E5DFB0B6F5}" dt="2024-07-18T15:45:26.333" v="746" actId="553"/>
          <ac:spMkLst>
            <pc:docMk/>
            <pc:sldMk cId="3859250616" sldId="2147310010"/>
            <ac:spMk id="106" creationId="{72116619-BA42-BEBD-B68B-E4E2C0E492F0}"/>
          </ac:spMkLst>
        </pc:spChg>
        <pc:spChg chg="mod">
          <ac:chgData name="Juan Enrique Córdova Woo" userId="48e678bc-df39-4a8a-a383-6b816eb75cf2" providerId="ADAL" clId="{7F916F24-8C26-4DE1-A5BE-D0E5DFB0B6F5}" dt="2024-07-18T15:45:26.333" v="746" actId="553"/>
          <ac:spMkLst>
            <pc:docMk/>
            <pc:sldMk cId="3859250616" sldId="2147310010"/>
            <ac:spMk id="128" creationId="{F2315BB7-FBF3-84B1-9E97-AF4A3D6EEAF1}"/>
          </ac:spMkLst>
        </pc:spChg>
        <pc:spChg chg="mod">
          <ac:chgData name="Juan Enrique Córdova Woo" userId="48e678bc-df39-4a8a-a383-6b816eb75cf2" providerId="ADAL" clId="{7F916F24-8C26-4DE1-A5BE-D0E5DFB0B6F5}" dt="2024-07-18T15:45:26.333" v="746" actId="553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Juan Enrique Córdova Woo" userId="48e678bc-df39-4a8a-a383-6b816eb75cf2" providerId="ADAL" clId="{7F916F24-8C26-4DE1-A5BE-D0E5DFB0B6F5}" dt="2024-07-18T15:45:26.333" v="746" actId="553"/>
          <ac:spMkLst>
            <pc:docMk/>
            <pc:sldMk cId="3859250616" sldId="2147310010"/>
            <ac:spMk id="130" creationId="{1C78E1CB-3E5F-962B-D1F3-2168A7EA4945}"/>
          </ac:spMkLst>
        </pc:spChg>
        <pc:grpChg chg="add del mod">
          <ac:chgData name="Juan Enrique Córdova Woo" userId="48e678bc-df39-4a8a-a383-6b816eb75cf2" providerId="ADAL" clId="{7F916F24-8C26-4DE1-A5BE-D0E5DFB0B6F5}" dt="2024-07-18T15:33:08.653" v="593" actId="14100"/>
          <ac:grpSpMkLst>
            <pc:docMk/>
            <pc:sldMk cId="3859250616" sldId="2147310010"/>
            <ac:grpSpMk id="19" creationId="{B63DE317-0B7F-07F3-02DC-C07F39DD420B}"/>
          </ac:grpSpMkLst>
        </pc:grpChg>
        <pc:grpChg chg="add del mod">
          <ac:chgData name="Juan Enrique Córdova Woo" userId="48e678bc-df39-4a8a-a383-6b816eb75cf2" providerId="ADAL" clId="{7F916F24-8C26-4DE1-A5BE-D0E5DFB0B6F5}" dt="2024-07-18T15:32:46.280" v="570" actId="1036"/>
          <ac:grpSpMkLst>
            <pc:docMk/>
            <pc:sldMk cId="3859250616" sldId="2147310010"/>
            <ac:grpSpMk id="111" creationId="{528DFC98-4198-10D5-8D8E-A5F6039611C8}"/>
          </ac:grpSpMkLst>
        </pc:grpChg>
        <pc:graphicFrameChg chg="mod">
          <ac:chgData name="Juan Enrique Córdova Woo" userId="48e678bc-df39-4a8a-a383-6b816eb75cf2" providerId="ADAL" clId="{7F916F24-8C26-4DE1-A5BE-D0E5DFB0B6F5}" dt="2024-07-18T15:32:56.387" v="573" actId="1035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Graphic">
          <ac:chgData name="Juan Enrique Córdova Woo" userId="48e678bc-df39-4a8a-a383-6b816eb75cf2" providerId="ADAL" clId="{7F916F24-8C26-4DE1-A5BE-D0E5DFB0B6F5}" dt="2024-07-17T20:28:42.373" v="487" actId="20577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picChg chg="del">
          <ac:chgData name="Juan Enrique Córdova Woo" userId="48e678bc-df39-4a8a-a383-6b816eb75cf2" providerId="ADAL" clId="{7F916F24-8C26-4DE1-A5BE-D0E5DFB0B6F5}" dt="2024-07-18T19:20:11.947" v="793" actId="478"/>
          <ac:picMkLst>
            <pc:docMk/>
            <pc:sldMk cId="3859250616" sldId="2147310010"/>
            <ac:picMk id="6" creationId="{793F0595-CAF9-BC1F-F75E-4EC092A61B1A}"/>
          </ac:picMkLst>
        </pc:picChg>
        <pc:picChg chg="add mod">
          <ac:chgData name="Juan Enrique Córdova Woo" userId="48e678bc-df39-4a8a-a383-6b816eb75cf2" providerId="ADAL" clId="{7F916F24-8C26-4DE1-A5BE-D0E5DFB0B6F5}" dt="2024-07-18T19:24:42.866" v="1004" actId="554"/>
          <ac:picMkLst>
            <pc:docMk/>
            <pc:sldMk cId="3859250616" sldId="2147310010"/>
            <ac:picMk id="23" creationId="{E24EC610-39BD-A4E0-AD7D-CDC8ACB2D941}"/>
          </ac:picMkLst>
        </pc:picChg>
        <pc:picChg chg="add del mod">
          <ac:chgData name="Juan Enrique Córdova Woo" userId="48e678bc-df39-4a8a-a383-6b816eb75cf2" providerId="ADAL" clId="{7F916F24-8C26-4DE1-A5BE-D0E5DFB0B6F5}" dt="2024-07-17T20:28:45.189" v="488" actId="21"/>
          <ac:picMkLst>
            <pc:docMk/>
            <pc:sldMk cId="3859250616" sldId="2147310010"/>
            <ac:picMk id="25" creationId="{3C325449-5BB2-E9F0-68CA-EEEE147096EE}"/>
          </ac:picMkLst>
        </pc:picChg>
        <pc:picChg chg="add del mod">
          <ac:chgData name="Juan Enrique Córdova Woo" userId="48e678bc-df39-4a8a-a383-6b816eb75cf2" providerId="ADAL" clId="{7F916F24-8C26-4DE1-A5BE-D0E5DFB0B6F5}" dt="2024-07-17T20:29:55.970" v="500" actId="478"/>
          <ac:picMkLst>
            <pc:docMk/>
            <pc:sldMk cId="3859250616" sldId="2147310010"/>
            <ac:picMk id="42" creationId="{048F9992-A8EF-CD66-CA20-D85A4B6414A6}"/>
          </ac:picMkLst>
        </pc:picChg>
      </pc:sldChg>
      <pc:sldChg chg="addSp delSp modSp mod modAnim">
        <pc:chgData name="Juan Enrique Córdova Woo" userId="48e678bc-df39-4a8a-a383-6b816eb75cf2" providerId="ADAL" clId="{7F916F24-8C26-4DE1-A5BE-D0E5DFB0B6F5}" dt="2024-07-18T19:24:57.034" v="1005" actId="554"/>
        <pc:sldMkLst>
          <pc:docMk/>
          <pc:sldMk cId="659418568" sldId="2147310011"/>
        </pc:sldMkLst>
        <pc:spChg chg="mod">
          <ac:chgData name="Juan Enrique Córdova Woo" userId="48e678bc-df39-4a8a-a383-6b816eb75cf2" providerId="ADAL" clId="{7F916F24-8C26-4DE1-A5BE-D0E5DFB0B6F5}" dt="2024-07-18T19:24:57.034" v="1005" actId="554"/>
          <ac:spMkLst>
            <pc:docMk/>
            <pc:sldMk cId="659418568" sldId="2147310011"/>
            <ac:spMk id="2" creationId="{B69CE8D9-C56E-D8EE-E529-AAAE8056EDE1}"/>
          </ac:spMkLst>
        </pc:spChg>
        <pc:spChg chg="mod">
          <ac:chgData name="Juan Enrique Córdova Woo" userId="48e678bc-df39-4a8a-a383-6b816eb75cf2" providerId="ADAL" clId="{7F916F24-8C26-4DE1-A5BE-D0E5DFB0B6F5}" dt="2024-07-18T15:44:41.212" v="741" actId="553"/>
          <ac:spMkLst>
            <pc:docMk/>
            <pc:sldMk cId="659418568" sldId="2147310011"/>
            <ac:spMk id="4" creationId="{E728A19B-24A0-9CF3-84A8-2A802965AD4F}"/>
          </ac:spMkLst>
        </pc:spChg>
        <pc:spChg chg="mod">
          <ac:chgData name="Juan Enrique Córdova Woo" userId="48e678bc-df39-4a8a-a383-6b816eb75cf2" providerId="ADAL" clId="{7F916F24-8C26-4DE1-A5BE-D0E5DFB0B6F5}" dt="2024-07-18T15:39:37.276" v="716" actId="20577"/>
          <ac:spMkLst>
            <pc:docMk/>
            <pc:sldMk cId="659418568" sldId="2147310011"/>
            <ac:spMk id="7" creationId="{B4E3CC02-00CB-686C-B6AA-8EB7AE4E4E80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10" creationId="{D5E651B5-AC20-A328-3F4F-30292580B6AF}"/>
          </ac:spMkLst>
        </pc:spChg>
        <pc:spChg chg="mod">
          <ac:chgData name="Juan Enrique Córdova Woo" userId="48e678bc-df39-4a8a-a383-6b816eb75cf2" providerId="ADAL" clId="{7F916F24-8C26-4DE1-A5BE-D0E5DFB0B6F5}" dt="2024-07-18T15:34:26.597" v="602" actId="1036"/>
          <ac:spMkLst>
            <pc:docMk/>
            <pc:sldMk cId="659418568" sldId="2147310011"/>
            <ac:spMk id="11" creationId="{07C7B54A-55DA-D36E-82D3-76771CF774CD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13" creationId="{A7F9AE06-D696-4934-3E94-C88F1F554421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18" creationId="{B773CC8C-1893-D801-E2DB-1561F5B2168B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19" creationId="{219F0228-A5E0-622A-2D4F-539E5C6179DC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20" creationId="{44E483C8-99F5-C97D-BC74-417016EAB33D}"/>
          </ac:spMkLst>
        </pc:spChg>
        <pc:spChg chg="mod">
          <ac:chgData name="Juan Enrique Córdova Woo" userId="48e678bc-df39-4a8a-a383-6b816eb75cf2" providerId="ADAL" clId="{7F916F24-8C26-4DE1-A5BE-D0E5DFB0B6F5}" dt="2024-07-18T15:34:26.597" v="602" actId="1036"/>
          <ac:spMkLst>
            <pc:docMk/>
            <pc:sldMk cId="659418568" sldId="2147310011"/>
            <ac:spMk id="21" creationId="{5B959601-DD31-4729-C9B0-B57914C14169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24" creationId="{4AF58815-663E-DAFF-D385-F59EF022E77C}"/>
          </ac:spMkLst>
        </pc:spChg>
        <pc:spChg chg="add mod">
          <ac:chgData name="Juan Enrique Córdova Woo" userId="48e678bc-df39-4a8a-a383-6b816eb75cf2" providerId="ADAL" clId="{7F916F24-8C26-4DE1-A5BE-D0E5DFB0B6F5}" dt="2024-07-18T15:44:41.212" v="741" actId="553"/>
          <ac:spMkLst>
            <pc:docMk/>
            <pc:sldMk cId="659418568" sldId="2147310011"/>
            <ac:spMk id="37" creationId="{0BA00B9C-ABB1-7EF7-83F4-6B2C76F61927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46" creationId="{3700AA40-A3C7-6897-6731-84A9E7843935}"/>
          </ac:spMkLst>
        </pc:spChg>
        <pc:spChg chg="mod">
          <ac:chgData name="Juan Enrique Córdova Woo" userId="48e678bc-df39-4a8a-a383-6b816eb75cf2" providerId="ADAL" clId="{7F916F24-8C26-4DE1-A5BE-D0E5DFB0B6F5}" dt="2024-07-18T15:45:05.628" v="744" actId="1035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55" creationId="{72D4B0F3-8C67-0E29-74DD-A4B03B0101B3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57" creationId="{4532FAF8-B96F-0731-BC66-4E3DB911091F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82" creationId="{9DA66A22-3529-8FEF-5426-9215D7B34A96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85" creationId="{A190D0B4-92ED-1A31-8614-795A6D20A889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87" creationId="{B565D2E5-581F-DB11-AE84-8EF6D06094DA}"/>
          </ac:spMkLst>
        </pc:spChg>
        <pc:spChg chg="mod">
          <ac:chgData name="Juan Enrique Córdova Woo" userId="48e678bc-df39-4a8a-a383-6b816eb75cf2" providerId="ADAL" clId="{7F916F24-8C26-4DE1-A5BE-D0E5DFB0B6F5}" dt="2024-07-18T15:44:51.489" v="742" actId="553"/>
          <ac:spMkLst>
            <pc:docMk/>
            <pc:sldMk cId="659418568" sldId="2147310011"/>
            <ac:spMk id="89" creationId="{EC857750-AAEC-B371-0D41-2B19DAC5B150}"/>
          </ac:spMkLst>
        </pc:spChg>
        <pc:grpChg chg="mod">
          <ac:chgData name="Juan Enrique Córdova Woo" userId="48e678bc-df39-4a8a-a383-6b816eb75cf2" providerId="ADAL" clId="{7F916F24-8C26-4DE1-A5BE-D0E5DFB0B6F5}" dt="2024-07-17T15:45:38.690" v="246" actId="14100"/>
          <ac:grpSpMkLst>
            <pc:docMk/>
            <pc:sldMk cId="659418568" sldId="2147310011"/>
            <ac:grpSpMk id="15" creationId="{D64C4FA5-BF9B-4CB0-A633-7699FF995123}"/>
          </ac:grpSpMkLst>
        </pc:grpChg>
        <pc:grpChg chg="mod">
          <ac:chgData name="Juan Enrique Córdova Woo" userId="48e678bc-df39-4a8a-a383-6b816eb75cf2" providerId="ADAL" clId="{7F916F24-8C26-4DE1-A5BE-D0E5DFB0B6F5}" dt="2024-07-18T15:34:26.597" v="602" actId="1036"/>
          <ac:grpSpMkLst>
            <pc:docMk/>
            <pc:sldMk cId="659418568" sldId="2147310011"/>
            <ac:grpSpMk id="49" creationId="{E66F7FBF-FECD-E554-AD22-C19BBA805E30}"/>
          </ac:grpSpMkLst>
        </pc:grpChg>
        <pc:graphicFrameChg chg="mod modGraphic">
          <ac:chgData name="Juan Enrique Córdova Woo" userId="48e678bc-df39-4a8a-a383-6b816eb75cf2" providerId="ADAL" clId="{7F916F24-8C26-4DE1-A5BE-D0E5DFB0B6F5}" dt="2024-07-17T23:25:52.355" v="535" actId="108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Graphic">
          <ac:chgData name="Juan Enrique Córdova Woo" userId="48e678bc-df39-4a8a-a383-6b816eb75cf2" providerId="ADAL" clId="{7F916F24-8C26-4DE1-A5BE-D0E5DFB0B6F5}" dt="2024-07-17T20:28:58.559" v="491" actId="20577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picChg chg="del">
          <ac:chgData name="Juan Enrique Córdova Woo" userId="48e678bc-df39-4a8a-a383-6b816eb75cf2" providerId="ADAL" clId="{7F916F24-8C26-4DE1-A5BE-D0E5DFB0B6F5}" dt="2024-07-18T19:20:16.881" v="795" actId="478"/>
          <ac:picMkLst>
            <pc:docMk/>
            <pc:sldMk cId="659418568" sldId="2147310011"/>
            <ac:picMk id="6" creationId="{793F0595-CAF9-BC1F-F75E-4EC092A61B1A}"/>
          </ac:picMkLst>
        </pc:picChg>
        <pc:picChg chg="add mod">
          <ac:chgData name="Juan Enrique Córdova Woo" userId="48e678bc-df39-4a8a-a383-6b816eb75cf2" providerId="ADAL" clId="{7F916F24-8C26-4DE1-A5BE-D0E5DFB0B6F5}" dt="2024-07-18T19:24:57.034" v="1005" actId="554"/>
          <ac:picMkLst>
            <pc:docMk/>
            <pc:sldMk cId="659418568" sldId="2147310011"/>
            <ac:picMk id="60" creationId="{5EEBA45D-BB24-C3CA-5811-61C2DAFA74B4}"/>
          </ac:picMkLst>
        </pc:picChg>
        <pc:picChg chg="add del mod">
          <ac:chgData name="Juan Enrique Córdova Woo" userId="48e678bc-df39-4a8a-a383-6b816eb75cf2" providerId="ADAL" clId="{7F916F24-8C26-4DE1-A5BE-D0E5DFB0B6F5}" dt="2024-07-17T20:29:02.999" v="492" actId="21"/>
          <ac:picMkLst>
            <pc:docMk/>
            <pc:sldMk cId="659418568" sldId="2147310011"/>
            <ac:picMk id="60" creationId="{90F15CC2-AA31-EF17-4EBD-50D806DDD609}"/>
          </ac:picMkLst>
        </pc:picChg>
        <pc:cxnChg chg="mod">
          <ac:chgData name="Juan Enrique Córdova Woo" userId="48e678bc-df39-4a8a-a383-6b816eb75cf2" providerId="ADAL" clId="{7F916F24-8C26-4DE1-A5BE-D0E5DFB0B6F5}" dt="2024-07-18T15:34:26.597" v="602" actId="1036"/>
          <ac:cxnSpMkLst>
            <pc:docMk/>
            <pc:sldMk cId="659418568" sldId="2147310011"/>
            <ac:cxnSpMk id="62" creationId="{7B36099A-E565-13EE-8397-B196138F5BA3}"/>
          </ac:cxnSpMkLst>
        </pc:cxnChg>
      </pc:sldChg>
      <pc:sldChg chg="addSp delSp modSp mod">
        <pc:chgData name="Juan Enrique Córdova Woo" userId="48e678bc-df39-4a8a-a383-6b816eb75cf2" providerId="ADAL" clId="{7F916F24-8C26-4DE1-A5BE-D0E5DFB0B6F5}" dt="2024-07-18T19:25:05.274" v="1006" actId="554"/>
        <pc:sldMkLst>
          <pc:docMk/>
          <pc:sldMk cId="1253964456" sldId="2147310012"/>
        </pc:sldMkLst>
        <pc:spChg chg="mod">
          <ac:chgData name="Juan Enrique Córdova Woo" userId="48e678bc-df39-4a8a-a383-6b816eb75cf2" providerId="ADAL" clId="{7F916F24-8C26-4DE1-A5BE-D0E5DFB0B6F5}" dt="2024-07-18T19:25:05.274" v="1006" actId="554"/>
          <ac:spMkLst>
            <pc:docMk/>
            <pc:sldMk cId="1253964456" sldId="2147310012"/>
            <ac:spMk id="2" creationId="{B69CE8D9-C56E-D8EE-E529-AAAE8056EDE1}"/>
          </ac:spMkLst>
        </pc:spChg>
        <pc:spChg chg="mod">
          <ac:chgData name="Juan Enrique Córdova Woo" userId="48e678bc-df39-4a8a-a383-6b816eb75cf2" providerId="ADAL" clId="{7F916F24-8C26-4DE1-A5BE-D0E5DFB0B6F5}" dt="2024-07-18T15:38:35.989" v="701" actId="1035"/>
          <ac:spMkLst>
            <pc:docMk/>
            <pc:sldMk cId="1253964456" sldId="2147310012"/>
            <ac:spMk id="4" creationId="{4CFB68E7-01DD-37B7-6A57-4F8E9D57FA4A}"/>
          </ac:spMkLst>
        </pc:spChg>
        <pc:spChg chg="mod">
          <ac:chgData name="Juan Enrique Córdova Woo" userId="48e678bc-df39-4a8a-a383-6b816eb75cf2" providerId="ADAL" clId="{7F916F24-8C26-4DE1-A5BE-D0E5DFB0B6F5}" dt="2024-07-18T15:38:44.776" v="707" actId="20577"/>
          <ac:spMkLst>
            <pc:docMk/>
            <pc:sldMk cId="1253964456" sldId="2147310012"/>
            <ac:spMk id="8" creationId="{48FA6392-943C-70EF-9D32-01F15962CFC3}"/>
          </ac:spMkLst>
        </pc:spChg>
        <pc:spChg chg="mod">
          <ac:chgData name="Juan Enrique Córdova Woo" userId="48e678bc-df39-4a8a-a383-6b816eb75cf2" providerId="ADAL" clId="{7F916F24-8C26-4DE1-A5BE-D0E5DFB0B6F5}" dt="2024-07-18T15:45:20.192" v="745" actId="553"/>
          <ac:spMkLst>
            <pc:docMk/>
            <pc:sldMk cId="1253964456" sldId="2147310012"/>
            <ac:spMk id="10" creationId="{69FB36FE-1D00-899A-FA20-C8453DA91FDE}"/>
          </ac:spMkLst>
        </pc:spChg>
        <pc:spChg chg="mod">
          <ac:chgData name="Juan Enrique Córdova Woo" userId="48e678bc-df39-4a8a-a383-6b816eb75cf2" providerId="ADAL" clId="{7F916F24-8C26-4DE1-A5BE-D0E5DFB0B6F5}" dt="2024-07-18T15:45:20.192" v="745" actId="553"/>
          <ac:spMkLst>
            <pc:docMk/>
            <pc:sldMk cId="1253964456" sldId="2147310012"/>
            <ac:spMk id="11" creationId="{49ED0FCD-5613-96D5-076D-A718AB6A8B28}"/>
          </ac:spMkLst>
        </pc:spChg>
        <pc:spChg chg="mod">
          <ac:chgData name="Juan Enrique Córdova Woo" userId="48e678bc-df39-4a8a-a383-6b816eb75cf2" providerId="ADAL" clId="{7F916F24-8C26-4DE1-A5BE-D0E5DFB0B6F5}" dt="2024-07-18T15:45:20.192" v="745" actId="553"/>
          <ac:spMkLst>
            <pc:docMk/>
            <pc:sldMk cId="1253964456" sldId="2147310012"/>
            <ac:spMk id="14" creationId="{B1F93DCD-E9E3-897E-7C6E-82374D51B591}"/>
          </ac:spMkLst>
        </pc:spChg>
        <pc:spChg chg="mod">
          <ac:chgData name="Juan Enrique Córdova Woo" userId="48e678bc-df39-4a8a-a383-6b816eb75cf2" providerId="ADAL" clId="{7F916F24-8C26-4DE1-A5BE-D0E5DFB0B6F5}" dt="2024-07-18T15:45:20.192" v="745" actId="553"/>
          <ac:spMkLst>
            <pc:docMk/>
            <pc:sldMk cId="1253964456" sldId="2147310012"/>
            <ac:spMk id="15" creationId="{D73CFB90-4150-B4F8-851D-EC3B542C1969}"/>
          </ac:spMkLst>
        </pc:spChg>
        <pc:spChg chg="mod">
          <ac:chgData name="Juan Enrique Córdova Woo" userId="48e678bc-df39-4a8a-a383-6b816eb75cf2" providerId="ADAL" clId="{7F916F24-8C26-4DE1-A5BE-D0E5DFB0B6F5}" dt="2024-07-18T15:45:20.192" v="745" actId="553"/>
          <ac:spMkLst>
            <pc:docMk/>
            <pc:sldMk cId="1253964456" sldId="2147310012"/>
            <ac:spMk id="19" creationId="{758D576D-F9E2-9621-8DEB-E1A178609AC3}"/>
          </ac:spMkLst>
        </pc:spChg>
        <pc:spChg chg="mod">
          <ac:chgData name="Juan Enrique Córdova Woo" userId="48e678bc-df39-4a8a-a383-6b816eb75cf2" providerId="ADAL" clId="{7F916F24-8C26-4DE1-A5BE-D0E5DFB0B6F5}" dt="2024-07-18T15:37:06.300" v="611" actId="1036"/>
          <ac:spMkLst>
            <pc:docMk/>
            <pc:sldMk cId="1253964456" sldId="2147310012"/>
            <ac:spMk id="28" creationId="{71384855-0396-A9B4-27BE-26F7E46581BD}"/>
          </ac:spMkLst>
        </pc:spChg>
        <pc:spChg chg="mod">
          <ac:chgData name="Juan Enrique Córdova Woo" userId="48e678bc-df39-4a8a-a383-6b816eb75cf2" providerId="ADAL" clId="{7F916F24-8C26-4DE1-A5BE-D0E5DFB0B6F5}" dt="2024-07-18T15:45:20.192" v="745" actId="553"/>
          <ac:spMkLst>
            <pc:docMk/>
            <pc:sldMk cId="1253964456" sldId="2147310012"/>
            <ac:spMk id="29" creationId="{6B3361AF-38C6-2BB3-EBD1-85509DB8CC4E}"/>
          </ac:spMkLst>
        </pc:spChg>
        <pc:spChg chg="mod">
          <ac:chgData name="Juan Enrique Córdova Woo" userId="48e678bc-df39-4a8a-a383-6b816eb75cf2" providerId="ADAL" clId="{7F916F24-8C26-4DE1-A5BE-D0E5DFB0B6F5}" dt="2024-07-18T15:44:15.675" v="737" actId="1035"/>
          <ac:spMkLst>
            <pc:docMk/>
            <pc:sldMk cId="1253964456" sldId="2147310012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916F24-8C26-4DE1-A5BE-D0E5DFB0B6F5}" dt="2024-07-18T15:44:15.675" v="737" actId="1035"/>
          <ac:spMkLst>
            <pc:docMk/>
            <pc:sldMk cId="1253964456" sldId="2147310012"/>
            <ac:spMk id="53" creationId="{FA42AA40-A391-EC6A-40D7-8F46A9ED8DE4}"/>
          </ac:spMkLst>
        </pc:spChg>
        <pc:spChg chg="mod">
          <ac:chgData name="Juan Enrique Córdova Woo" userId="48e678bc-df39-4a8a-a383-6b816eb75cf2" providerId="ADAL" clId="{7F916F24-8C26-4DE1-A5BE-D0E5DFB0B6F5}" dt="2024-07-18T15:45:20.192" v="745" actId="553"/>
          <ac:spMkLst>
            <pc:docMk/>
            <pc:sldMk cId="1253964456" sldId="2147310012"/>
            <ac:spMk id="84" creationId="{347D0B40-3392-930E-7DBF-F067662C0920}"/>
          </ac:spMkLst>
        </pc:spChg>
        <pc:spChg chg="mod">
          <ac:chgData name="Juan Enrique Córdova Woo" userId="48e678bc-df39-4a8a-a383-6b816eb75cf2" providerId="ADAL" clId="{7F916F24-8C26-4DE1-A5BE-D0E5DFB0B6F5}" dt="2024-07-18T15:45:20.192" v="745" actId="553"/>
          <ac:spMkLst>
            <pc:docMk/>
            <pc:sldMk cId="1253964456" sldId="2147310012"/>
            <ac:spMk id="85" creationId="{A190D0B4-92ED-1A31-8614-795A6D20A889}"/>
          </ac:spMkLst>
        </pc:spChg>
        <pc:picChg chg="del">
          <ac:chgData name="Juan Enrique Córdova Woo" userId="48e678bc-df39-4a8a-a383-6b816eb75cf2" providerId="ADAL" clId="{7F916F24-8C26-4DE1-A5BE-D0E5DFB0B6F5}" dt="2024-07-18T19:20:20.745" v="797" actId="478"/>
          <ac:picMkLst>
            <pc:docMk/>
            <pc:sldMk cId="1253964456" sldId="2147310012"/>
            <ac:picMk id="6" creationId="{793F0595-CAF9-BC1F-F75E-4EC092A61B1A}"/>
          </ac:picMkLst>
        </pc:picChg>
        <pc:picChg chg="add mod">
          <ac:chgData name="Juan Enrique Córdova Woo" userId="48e678bc-df39-4a8a-a383-6b816eb75cf2" providerId="ADAL" clId="{7F916F24-8C26-4DE1-A5BE-D0E5DFB0B6F5}" dt="2024-07-18T19:25:05.274" v="1006" actId="554"/>
          <ac:picMkLst>
            <pc:docMk/>
            <pc:sldMk cId="1253964456" sldId="2147310012"/>
            <ac:picMk id="42" creationId="{6742BB03-F52F-DC32-BA29-CA0D900F6929}"/>
          </ac:picMkLst>
        </pc:picChg>
        <pc:picChg chg="add del mod">
          <ac:chgData name="Juan Enrique Córdova Woo" userId="48e678bc-df39-4a8a-a383-6b816eb75cf2" providerId="ADAL" clId="{7F916F24-8C26-4DE1-A5BE-D0E5DFB0B6F5}" dt="2024-07-17T20:29:22.971" v="494" actId="21"/>
          <ac:picMkLst>
            <pc:docMk/>
            <pc:sldMk cId="1253964456" sldId="2147310012"/>
            <ac:picMk id="42" creationId="{71AD56A4-7BA3-A93F-4198-8A88F3C5919D}"/>
          </ac:picMkLst>
        </pc:picChg>
        <pc:picChg chg="add del mod">
          <ac:chgData name="Juan Enrique Córdova Woo" userId="48e678bc-df39-4a8a-a383-6b816eb75cf2" providerId="ADAL" clId="{7F916F24-8C26-4DE1-A5BE-D0E5DFB0B6F5}" dt="2024-07-17T20:29:45.196" v="498" actId="21"/>
          <ac:picMkLst>
            <pc:docMk/>
            <pc:sldMk cId="1253964456" sldId="2147310012"/>
            <ac:picMk id="43" creationId="{F2FA154A-DC45-9373-CBE2-1561E8787098}"/>
          </ac:picMkLst>
        </pc:picChg>
        <pc:cxnChg chg="mod">
          <ac:chgData name="Juan Enrique Córdova Woo" userId="48e678bc-df39-4a8a-a383-6b816eb75cf2" providerId="ADAL" clId="{7F916F24-8C26-4DE1-A5BE-D0E5DFB0B6F5}" dt="2024-07-18T15:44:15.675" v="737" actId="1035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Juan Enrique Córdova Woo" userId="48e678bc-df39-4a8a-a383-6b816eb75cf2" providerId="ADAL" clId="{7F916F24-8C26-4DE1-A5BE-D0E5DFB0B6F5}" dt="2024-07-18T15:44:15.675" v="737" actId="1035"/>
          <ac:cxnSpMkLst>
            <pc:docMk/>
            <pc:sldMk cId="1253964456" sldId="2147310012"/>
            <ac:cxnSpMk id="26" creationId="{BAFC660C-DB27-024A-8264-141ACA3FE584}"/>
          </ac:cxnSpMkLst>
        </pc:cxnChg>
      </pc:sldChg>
      <pc:sldChg chg="addSp delSp modSp mod">
        <pc:chgData name="Juan Enrique Córdova Woo" userId="48e678bc-df39-4a8a-a383-6b816eb75cf2" providerId="ADAL" clId="{7F916F24-8C26-4DE1-A5BE-D0E5DFB0B6F5}" dt="2024-07-18T19:25:13.339" v="1007" actId="554"/>
        <pc:sldMkLst>
          <pc:docMk/>
          <pc:sldMk cId="3220162634" sldId="2147310013"/>
        </pc:sldMkLst>
        <pc:spChg chg="mod">
          <ac:chgData name="Juan Enrique Córdova Woo" userId="48e678bc-df39-4a8a-a383-6b816eb75cf2" providerId="ADAL" clId="{7F916F24-8C26-4DE1-A5BE-D0E5DFB0B6F5}" dt="2024-07-18T19:25:13.339" v="1007" actId="554"/>
          <ac:spMkLst>
            <pc:docMk/>
            <pc:sldMk cId="3220162634" sldId="2147310013"/>
            <ac:spMk id="2" creationId="{B69CE8D9-C56E-D8EE-E529-AAAE8056EDE1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5" creationId="{DCFC370B-44D8-91ED-9C38-441986C9E4BE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8" creationId="{796FAE6D-544B-0F2A-4D80-0D93C6DAC61E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16" creationId="{6F37DDB0-9DF4-9B80-6878-B28A1F0EBCDF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19" creationId="{555F3443-61F8-91D4-34FD-2C3A2C66E1A2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30" creationId="{1B3594EE-5C7D-88B2-19F1-0A643220AC5B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38" creationId="{01BD3907-257A-9B49-612D-779EAD43FA17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39" creationId="{A09B774A-456B-D4AC-519A-D04D46F2BC7B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48" creationId="{00F49C6B-A09B-C3C2-0CA5-E99B0BDAC31D}"/>
          </ac:spMkLst>
        </pc:spChg>
        <pc:spChg chg="mod">
          <ac:chgData name="Juan Enrique Córdova Woo" userId="48e678bc-df39-4a8a-a383-6b816eb75cf2" providerId="ADAL" clId="{7F916F24-8C26-4DE1-A5BE-D0E5DFB0B6F5}" dt="2024-07-17T16:12:10.953" v="428" actId="20577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55" creationId="{72D4B0F3-8C67-0E29-74DD-A4B03B0101B3}"/>
          </ac:spMkLst>
        </pc:spChg>
        <pc:spChg chg="mod">
          <ac:chgData name="Juan Enrique Córdova Woo" userId="48e678bc-df39-4a8a-a383-6b816eb75cf2" providerId="ADAL" clId="{7F916F24-8C26-4DE1-A5BE-D0E5DFB0B6F5}" dt="2024-07-18T15:44:30.120" v="739" actId="553"/>
          <ac:spMkLst>
            <pc:docMk/>
            <pc:sldMk cId="3220162634" sldId="2147310013"/>
            <ac:spMk id="85" creationId="{A190D0B4-92ED-1A31-8614-795A6D20A889}"/>
          </ac:spMkLst>
        </pc:spChg>
        <pc:grpChg chg="mod">
          <ac:chgData name="Juan Enrique Córdova Woo" userId="48e678bc-df39-4a8a-a383-6b816eb75cf2" providerId="ADAL" clId="{7F916F24-8C26-4DE1-A5BE-D0E5DFB0B6F5}" dt="2024-07-17T16:06:52.620" v="409" actId="14100"/>
          <ac:grpSpMkLst>
            <pc:docMk/>
            <pc:sldMk cId="3220162634" sldId="2147310013"/>
            <ac:grpSpMk id="31" creationId="{1DB416D3-DF5E-D3DA-70A1-5AFA3C8D6B36}"/>
          </ac:grpSpMkLst>
        </pc:grpChg>
        <pc:picChg chg="del">
          <ac:chgData name="Juan Enrique Córdova Woo" userId="48e678bc-df39-4a8a-a383-6b816eb75cf2" providerId="ADAL" clId="{7F916F24-8C26-4DE1-A5BE-D0E5DFB0B6F5}" dt="2024-07-18T19:20:24.648" v="799" actId="478"/>
          <ac:picMkLst>
            <pc:docMk/>
            <pc:sldMk cId="3220162634" sldId="2147310013"/>
            <ac:picMk id="6" creationId="{793F0595-CAF9-BC1F-F75E-4EC092A61B1A}"/>
          </ac:picMkLst>
        </pc:picChg>
        <pc:picChg chg="add del mod">
          <ac:chgData name="Juan Enrique Córdova Woo" userId="48e678bc-df39-4a8a-a383-6b816eb75cf2" providerId="ADAL" clId="{7F916F24-8C26-4DE1-A5BE-D0E5DFB0B6F5}" dt="2024-07-17T20:29:37.434" v="496" actId="21"/>
          <ac:picMkLst>
            <pc:docMk/>
            <pc:sldMk cId="3220162634" sldId="2147310013"/>
            <ac:picMk id="40" creationId="{8AF2741E-DFDC-E8F9-B1AC-C00CA7FD72A9}"/>
          </ac:picMkLst>
        </pc:picChg>
        <pc:picChg chg="add mod">
          <ac:chgData name="Juan Enrique Córdova Woo" userId="48e678bc-df39-4a8a-a383-6b816eb75cf2" providerId="ADAL" clId="{7F916F24-8C26-4DE1-A5BE-D0E5DFB0B6F5}" dt="2024-07-18T19:25:13.339" v="1007" actId="554"/>
          <ac:picMkLst>
            <pc:docMk/>
            <pc:sldMk cId="3220162634" sldId="2147310013"/>
            <ac:picMk id="40" creationId="{C2E87FAF-AC10-0C41-B971-315D877E367A}"/>
          </ac:picMkLst>
        </pc:picChg>
      </pc:sldChg>
      <pc:sldChg chg="addSp modSp mod">
        <pc:chgData name="Juan Enrique Córdova Woo" userId="48e678bc-df39-4a8a-a383-6b816eb75cf2" providerId="ADAL" clId="{7F916F24-8C26-4DE1-A5BE-D0E5DFB0B6F5}" dt="2024-07-18T19:32:04.441" v="1281"/>
        <pc:sldMkLst>
          <pc:docMk/>
          <pc:sldMk cId="649892551" sldId="2147310016"/>
        </pc:sldMkLst>
        <pc:spChg chg="add mod">
          <ac:chgData name="Juan Enrique Córdova Woo" userId="48e678bc-df39-4a8a-a383-6b816eb75cf2" providerId="ADAL" clId="{7F916F24-8C26-4DE1-A5BE-D0E5DFB0B6F5}" dt="2024-07-18T17:06:25.700" v="778"/>
          <ac:spMkLst>
            <pc:docMk/>
            <pc:sldMk cId="649892551" sldId="2147310016"/>
            <ac:spMk id="3" creationId="{FA867270-A122-D3FF-6F7C-DD3226EDC823}"/>
          </ac:spMkLst>
        </pc:spChg>
        <pc:spChg chg="mod">
          <ac:chgData name="Juan Enrique Córdova Woo" userId="48e678bc-df39-4a8a-a383-6b816eb75cf2" providerId="ADAL" clId="{7F916F24-8C26-4DE1-A5BE-D0E5DFB0B6F5}" dt="2024-07-18T14:44:44.361" v="559" actId="208"/>
          <ac:spMkLst>
            <pc:docMk/>
            <pc:sldMk cId="649892551" sldId="2147310016"/>
            <ac:spMk id="4" creationId="{04E43BBB-EA3E-3DDB-703F-BAA56C74AD1D}"/>
          </ac:spMkLst>
        </pc:spChg>
        <pc:spChg chg="mod">
          <ac:chgData name="Juan Enrique Córdova Woo" userId="48e678bc-df39-4a8a-a383-6b816eb75cf2" providerId="ADAL" clId="{7F916F24-8C26-4DE1-A5BE-D0E5DFB0B6F5}" dt="2024-07-18T19:32:04.441" v="1281"/>
          <ac:spMkLst>
            <pc:docMk/>
            <pc:sldMk cId="649892551" sldId="2147310016"/>
            <ac:spMk id="6" creationId="{657908EC-AD3D-5E1A-E39D-D4D11E952763}"/>
          </ac:spMkLst>
        </pc:spChg>
        <pc:spChg chg="mod">
          <ac:chgData name="Juan Enrique Córdova Woo" userId="48e678bc-df39-4a8a-a383-6b816eb75cf2" providerId="ADAL" clId="{7F916F24-8C26-4DE1-A5BE-D0E5DFB0B6F5}" dt="2024-07-18T14:44:40.276" v="557" actId="208"/>
          <ac:spMkLst>
            <pc:docMk/>
            <pc:sldMk cId="649892551" sldId="2147310016"/>
            <ac:spMk id="9" creationId="{4ED63805-5BE0-FEAD-D302-14D9EB1A0EAE}"/>
          </ac:spMkLst>
        </pc:spChg>
        <pc:spChg chg="mod">
          <ac:chgData name="Juan Enrique Córdova Woo" userId="48e678bc-df39-4a8a-a383-6b816eb75cf2" providerId="ADAL" clId="{7F916F24-8C26-4DE1-A5BE-D0E5DFB0B6F5}" dt="2024-07-18T14:44:26.777" v="551" actId="208"/>
          <ac:spMkLst>
            <pc:docMk/>
            <pc:sldMk cId="649892551" sldId="2147310016"/>
            <ac:spMk id="10" creationId="{1F8C62CE-5585-2AAC-99BF-93AB8D7080A4}"/>
          </ac:spMkLst>
        </pc:spChg>
        <pc:spChg chg="mod">
          <ac:chgData name="Juan Enrique Córdova Woo" userId="48e678bc-df39-4a8a-a383-6b816eb75cf2" providerId="ADAL" clId="{7F916F24-8C26-4DE1-A5BE-D0E5DFB0B6F5}" dt="2024-07-18T19:25:44.630" v="1009" actId="554"/>
          <ac:spMkLst>
            <pc:docMk/>
            <pc:sldMk cId="649892551" sldId="2147310016"/>
            <ac:spMk id="11" creationId="{0FA3F142-40A5-149A-EFA0-D68F2A7B17C4}"/>
          </ac:spMkLst>
        </pc:spChg>
        <pc:spChg chg="add mod">
          <ac:chgData name="Juan Enrique Córdova Woo" userId="48e678bc-df39-4a8a-a383-6b816eb75cf2" providerId="ADAL" clId="{7F916F24-8C26-4DE1-A5BE-D0E5DFB0B6F5}" dt="2024-07-18T19:31:37.189" v="1280"/>
          <ac:spMkLst>
            <pc:docMk/>
            <pc:sldMk cId="649892551" sldId="2147310016"/>
            <ac:spMk id="22" creationId="{15B0F496-BC73-9F55-3A0B-166C135ECA3D}"/>
          </ac:spMkLst>
        </pc:spChg>
        <pc:spChg chg="mod">
          <ac:chgData name="Juan Enrique Córdova Woo" userId="48e678bc-df39-4a8a-a383-6b816eb75cf2" providerId="ADAL" clId="{7F916F24-8C26-4DE1-A5BE-D0E5DFB0B6F5}" dt="2024-07-18T14:44:23.656" v="549" actId="207"/>
          <ac:spMkLst>
            <pc:docMk/>
            <pc:sldMk cId="649892551" sldId="2147310016"/>
            <ac:spMk id="23" creationId="{DA8DED9F-196D-2B97-7FC0-B8775D127742}"/>
          </ac:spMkLst>
        </pc:spChg>
        <pc:spChg chg="mod">
          <ac:chgData name="Juan Enrique Córdova Woo" userId="48e678bc-df39-4a8a-a383-6b816eb75cf2" providerId="ADAL" clId="{7F916F24-8C26-4DE1-A5BE-D0E5DFB0B6F5}" dt="2024-07-17T20:19:45.734" v="456" actId="207"/>
          <ac:spMkLst>
            <pc:docMk/>
            <pc:sldMk cId="649892551" sldId="2147310016"/>
            <ac:spMk id="26" creationId="{5382A627-FC6C-DA7C-9A6A-08AE68626876}"/>
          </ac:spMkLst>
        </pc:spChg>
        <pc:spChg chg="mod">
          <ac:chgData name="Juan Enrique Córdova Woo" userId="48e678bc-df39-4a8a-a383-6b816eb75cf2" providerId="ADAL" clId="{7F916F24-8C26-4DE1-A5BE-D0E5DFB0B6F5}" dt="2024-07-18T14:44:18.930" v="547" actId="208"/>
          <ac:spMkLst>
            <pc:docMk/>
            <pc:sldMk cId="649892551" sldId="2147310016"/>
            <ac:spMk id="27" creationId="{58E23F92-9A62-D3A4-1FE2-3529B6DB7DBD}"/>
          </ac:spMkLst>
        </pc:spChg>
        <pc:spChg chg="mod">
          <ac:chgData name="Juan Enrique Córdova Woo" userId="48e678bc-df39-4a8a-a383-6b816eb75cf2" providerId="ADAL" clId="{7F916F24-8C26-4DE1-A5BE-D0E5DFB0B6F5}" dt="2024-07-18T14:44:30.817" v="553" actId="207"/>
          <ac:spMkLst>
            <pc:docMk/>
            <pc:sldMk cId="649892551" sldId="2147310016"/>
            <ac:spMk id="29" creationId="{0DA9DC56-81B7-4999-CB65-AFB91031845A}"/>
          </ac:spMkLst>
        </pc:spChg>
        <pc:spChg chg="mod">
          <ac:chgData name="Juan Enrique Córdova Woo" userId="48e678bc-df39-4a8a-a383-6b816eb75cf2" providerId="ADAL" clId="{7F916F24-8C26-4DE1-A5BE-D0E5DFB0B6F5}" dt="2024-07-18T14:44:33.871" v="555" actId="207"/>
          <ac:spMkLst>
            <pc:docMk/>
            <pc:sldMk cId="649892551" sldId="2147310016"/>
            <ac:spMk id="30" creationId="{464DA85C-B417-70D8-A89B-2B69AB01AAF1}"/>
          </ac:spMkLst>
        </pc:spChg>
        <pc:graphicFrameChg chg="modGraphic">
          <ac:chgData name="Juan Enrique Córdova Woo" userId="48e678bc-df39-4a8a-a383-6b816eb75cf2" providerId="ADAL" clId="{7F916F24-8C26-4DE1-A5BE-D0E5DFB0B6F5}" dt="2024-07-17T22:12:48.520" v="531" actId="20577"/>
          <ac:graphicFrameMkLst>
            <pc:docMk/>
            <pc:sldMk cId="649892551" sldId="2147310016"/>
            <ac:graphicFrameMk id="13" creationId="{BC0710D6-135E-EDE0-0A2D-C2D70100BF45}"/>
          </ac:graphicFrameMkLst>
        </pc:graphicFrameChg>
        <pc:picChg chg="mod">
          <ac:chgData name="Juan Enrique Córdova Woo" userId="48e678bc-df39-4a8a-a383-6b816eb75cf2" providerId="ADAL" clId="{7F916F24-8C26-4DE1-A5BE-D0E5DFB0B6F5}" dt="2024-07-18T19:25:44.630" v="1009" actId="554"/>
          <ac:picMkLst>
            <pc:docMk/>
            <pc:sldMk cId="649892551" sldId="2147310016"/>
            <ac:picMk id="24" creationId="{79CB22D7-7579-6CB1-96FC-A44A41F17FD0}"/>
          </ac:picMkLst>
        </pc:picChg>
      </pc:sldChg>
      <pc:sldChg chg="addSp delSp modSp mod">
        <pc:chgData name="Juan Enrique Córdova Woo" userId="48e678bc-df39-4a8a-a383-6b816eb75cf2" providerId="ADAL" clId="{7F916F24-8C26-4DE1-A5BE-D0E5DFB0B6F5}" dt="2024-07-18T19:26:42.313" v="1011"/>
        <pc:sldMkLst>
          <pc:docMk/>
          <pc:sldMk cId="3746985532" sldId="2147310020"/>
        </pc:sldMkLst>
        <pc:spChg chg="del">
          <ac:chgData name="Juan Enrique Córdova Woo" userId="48e678bc-df39-4a8a-a383-6b816eb75cf2" providerId="ADAL" clId="{7F916F24-8C26-4DE1-A5BE-D0E5DFB0B6F5}" dt="2024-07-18T19:21:00.965" v="803" actId="478"/>
          <ac:spMkLst>
            <pc:docMk/>
            <pc:sldMk cId="3746985532" sldId="2147310020"/>
            <ac:spMk id="2" creationId="{B69CE8D9-C56E-D8EE-E529-AAAE8056EDE1}"/>
          </ac:spMkLst>
        </pc:spChg>
        <pc:spChg chg="del">
          <ac:chgData name="Juan Enrique Córdova Woo" userId="48e678bc-df39-4a8a-a383-6b816eb75cf2" providerId="ADAL" clId="{7F916F24-8C26-4DE1-A5BE-D0E5DFB0B6F5}" dt="2024-07-18T19:26:41.733" v="1010" actId="478"/>
          <ac:spMkLst>
            <pc:docMk/>
            <pc:sldMk cId="3746985532" sldId="2147310020"/>
            <ac:spMk id="4" creationId="{04431468-486B-D1EB-B7DA-F3991125FC17}"/>
          </ac:spMkLst>
        </pc:spChg>
        <pc:spChg chg="add mod">
          <ac:chgData name="Juan Enrique Córdova Woo" userId="48e678bc-df39-4a8a-a383-6b816eb75cf2" providerId="ADAL" clId="{7F916F24-8C26-4DE1-A5BE-D0E5DFB0B6F5}" dt="2024-07-18T19:25:20.404" v="1008" actId="554"/>
          <ac:spMkLst>
            <pc:docMk/>
            <pc:sldMk cId="3746985532" sldId="2147310020"/>
            <ac:spMk id="5" creationId="{7615FE0C-E799-FE50-8E22-9CCED845BB78}"/>
          </ac:spMkLst>
        </pc:spChg>
        <pc:spChg chg="add mod">
          <ac:chgData name="Juan Enrique Córdova Woo" userId="48e678bc-df39-4a8a-a383-6b816eb75cf2" providerId="ADAL" clId="{7F916F24-8C26-4DE1-A5BE-D0E5DFB0B6F5}" dt="2024-07-18T19:26:42.313" v="1011"/>
          <ac:spMkLst>
            <pc:docMk/>
            <pc:sldMk cId="3746985532" sldId="2147310020"/>
            <ac:spMk id="7" creationId="{46F7A913-62A5-278C-ADCD-BD6334CFBD42}"/>
          </ac:spMkLst>
        </pc:spChg>
        <pc:spChg chg="add mod">
          <ac:chgData name="Juan Enrique Córdova Woo" userId="48e678bc-df39-4a8a-a383-6b816eb75cf2" providerId="ADAL" clId="{7F916F24-8C26-4DE1-A5BE-D0E5DFB0B6F5}" dt="2024-07-18T19:26:42.313" v="1011"/>
          <ac:spMkLst>
            <pc:docMk/>
            <pc:sldMk cId="3746985532" sldId="2147310020"/>
            <ac:spMk id="8" creationId="{07998B50-257B-481E-C2C5-B06E3466B46B}"/>
          </ac:spMkLst>
        </pc:spChg>
        <pc:picChg chg="add mod">
          <ac:chgData name="Juan Enrique Córdova Woo" userId="48e678bc-df39-4a8a-a383-6b816eb75cf2" providerId="ADAL" clId="{7F916F24-8C26-4DE1-A5BE-D0E5DFB0B6F5}" dt="2024-07-18T19:25:20.404" v="1008" actId="554"/>
          <ac:picMkLst>
            <pc:docMk/>
            <pc:sldMk cId="3746985532" sldId="2147310020"/>
            <ac:picMk id="3" creationId="{8C0CD714-E937-E300-495C-3F397A7D72FF}"/>
          </ac:picMkLst>
        </pc:picChg>
        <pc:picChg chg="del">
          <ac:chgData name="Juan Enrique Córdova Woo" userId="48e678bc-df39-4a8a-a383-6b816eb75cf2" providerId="ADAL" clId="{7F916F24-8C26-4DE1-A5BE-D0E5DFB0B6F5}" dt="2024-07-18T19:20:28.374" v="801" actId="478"/>
          <ac:picMkLst>
            <pc:docMk/>
            <pc:sldMk cId="3746985532" sldId="2147310020"/>
            <ac:picMk id="6" creationId="{793F0595-CAF9-BC1F-F75E-4EC092A61B1A}"/>
          </ac:picMkLst>
        </pc:picChg>
      </pc:sldChg>
      <pc:sldChg chg="addSp delSp modSp mod addAnim delAnim">
        <pc:chgData name="Juan Enrique Córdova Woo" userId="48e678bc-df39-4a8a-a383-6b816eb75cf2" providerId="ADAL" clId="{7F916F24-8C26-4DE1-A5BE-D0E5DFB0B6F5}" dt="2024-07-18T19:24:34.745" v="1003" actId="554"/>
        <pc:sldMkLst>
          <pc:docMk/>
          <pc:sldMk cId="151272569" sldId="2147310022"/>
        </pc:sldMkLst>
        <pc:spChg chg="mod">
          <ac:chgData name="Juan Enrique Córdova Woo" userId="48e678bc-df39-4a8a-a383-6b816eb75cf2" providerId="ADAL" clId="{7F916F24-8C26-4DE1-A5BE-D0E5DFB0B6F5}" dt="2024-07-18T19:24:34.745" v="1003" actId="554"/>
          <ac:spMkLst>
            <pc:docMk/>
            <pc:sldMk cId="151272569" sldId="2147310022"/>
            <ac:spMk id="2" creationId="{B69CE8D9-C56E-D8EE-E529-AAAE8056EDE1}"/>
          </ac:spMkLst>
        </pc:spChg>
        <pc:graphicFrameChg chg="modGraphic">
          <ac:chgData name="Juan Enrique Córdova Woo" userId="48e678bc-df39-4a8a-a383-6b816eb75cf2" providerId="ADAL" clId="{7F916F24-8C26-4DE1-A5BE-D0E5DFB0B6F5}" dt="2024-07-17T21:01:55.219" v="503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Juan Enrique Córdova Woo" userId="48e678bc-df39-4a8a-a383-6b816eb75cf2" providerId="ADAL" clId="{7F916F24-8C26-4DE1-A5BE-D0E5DFB0B6F5}" dt="2024-07-17T21:03:07.726" v="521" actId="13926"/>
          <ac:graphicFrameMkLst>
            <pc:docMk/>
            <pc:sldMk cId="151272569" sldId="2147310022"/>
            <ac:graphicFrameMk id="53" creationId="{618955C3-E208-AFCE-12BC-3E76CA8E34B1}"/>
          </ac:graphicFrameMkLst>
        </pc:graphicFrameChg>
        <pc:graphicFrameChg chg="modGraphic">
          <ac:chgData name="Juan Enrique Córdova Woo" userId="48e678bc-df39-4a8a-a383-6b816eb75cf2" providerId="ADAL" clId="{7F916F24-8C26-4DE1-A5BE-D0E5DFB0B6F5}" dt="2024-07-17T21:01:51.217" v="502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picChg chg="add mod">
          <ac:chgData name="Juan Enrique Córdova Woo" userId="48e678bc-df39-4a8a-a383-6b816eb75cf2" providerId="ADAL" clId="{7F916F24-8C26-4DE1-A5BE-D0E5DFB0B6F5}" dt="2024-07-18T19:24:34.745" v="1003" actId="554"/>
          <ac:picMkLst>
            <pc:docMk/>
            <pc:sldMk cId="151272569" sldId="2147310022"/>
            <ac:picMk id="5" creationId="{299E3FDE-7C87-CE1B-383E-DD7D1DF5BF75}"/>
          </ac:picMkLst>
        </pc:picChg>
        <pc:picChg chg="del">
          <ac:chgData name="Juan Enrique Córdova Woo" userId="48e678bc-df39-4a8a-a383-6b816eb75cf2" providerId="ADAL" clId="{7F916F24-8C26-4DE1-A5BE-D0E5DFB0B6F5}" dt="2024-07-18T19:20:07.389" v="791" actId="478"/>
          <ac:picMkLst>
            <pc:docMk/>
            <pc:sldMk cId="151272569" sldId="2147310022"/>
            <ac:picMk id="6" creationId="{793F0595-CAF9-BC1F-F75E-4EC092A61B1A}"/>
          </ac:picMkLst>
        </pc:picChg>
        <pc:picChg chg="add del mod">
          <ac:chgData name="Juan Enrique Córdova Woo" userId="48e678bc-df39-4a8a-a383-6b816eb75cf2" providerId="ADAL" clId="{7F916F24-8C26-4DE1-A5BE-D0E5DFB0B6F5}" dt="2024-07-17T21:01:18.461" v="501" actId="478"/>
          <ac:picMkLst>
            <pc:docMk/>
            <pc:sldMk cId="151272569" sldId="2147310022"/>
            <ac:picMk id="10" creationId="{181F93A2-7464-18BC-D5B4-CAB64FE1A023}"/>
          </ac:picMkLst>
        </pc:picChg>
      </pc:sldChg>
      <pc:sldChg chg="addSp delSp modSp mod">
        <pc:chgData name="Juan Enrique Córdova Woo" userId="48e678bc-df39-4a8a-a383-6b816eb75cf2" providerId="ADAL" clId="{7F916F24-8C26-4DE1-A5BE-D0E5DFB0B6F5}" dt="2024-07-18T19:35:56.868" v="1370" actId="6549"/>
        <pc:sldMkLst>
          <pc:docMk/>
          <pc:sldMk cId="1985056801" sldId="2147310029"/>
        </pc:sldMkLst>
        <pc:spChg chg="mod">
          <ac:chgData name="Juan Enrique Córdova Woo" userId="48e678bc-df39-4a8a-a383-6b816eb75cf2" providerId="ADAL" clId="{7F916F24-8C26-4DE1-A5BE-D0E5DFB0B6F5}" dt="2024-07-18T19:35:12.645" v="1282" actId="1076"/>
          <ac:spMkLst>
            <pc:docMk/>
            <pc:sldMk cId="1985056801" sldId="2147310029"/>
            <ac:spMk id="8" creationId="{5129EA4E-E527-9532-61E7-C3FF28C3F410}"/>
          </ac:spMkLst>
        </pc:spChg>
        <pc:spChg chg="add mod">
          <ac:chgData name="Juan Enrique Córdova Woo" userId="48e678bc-df39-4a8a-a383-6b816eb75cf2" providerId="ADAL" clId="{7F916F24-8C26-4DE1-A5BE-D0E5DFB0B6F5}" dt="2024-07-18T19:35:56.868" v="1370" actId="6549"/>
          <ac:spMkLst>
            <pc:docMk/>
            <pc:sldMk cId="1985056801" sldId="2147310029"/>
            <ac:spMk id="23" creationId="{808C0FBB-3EBB-1E9C-5397-C09F2C9C2DCD}"/>
          </ac:spMkLst>
        </pc:spChg>
        <pc:picChg chg="del">
          <ac:chgData name="Juan Enrique Córdova Woo" userId="48e678bc-df39-4a8a-a383-6b816eb75cf2" providerId="ADAL" clId="{7F916F24-8C26-4DE1-A5BE-D0E5DFB0B6F5}" dt="2024-07-18T19:20:03.374" v="789" actId="478"/>
          <ac:picMkLst>
            <pc:docMk/>
            <pc:sldMk cId="1985056801" sldId="2147310029"/>
            <ac:picMk id="6" creationId="{793F0595-CAF9-BC1F-F75E-4EC092A61B1A}"/>
          </ac:picMkLst>
        </pc:picChg>
        <pc:picChg chg="add del mod">
          <ac:chgData name="Juan Enrique Córdova Woo" userId="48e678bc-df39-4a8a-a383-6b816eb75cf2" providerId="ADAL" clId="{7F916F24-8C26-4DE1-A5BE-D0E5DFB0B6F5}" dt="2024-07-18T19:35:14.238" v="1283" actId="478"/>
          <ac:picMkLst>
            <pc:docMk/>
            <pc:sldMk cId="1985056801" sldId="2147310029"/>
            <ac:picMk id="21" creationId="{06671BD1-A052-9EE3-CB61-F159B616D13A}"/>
          </ac:picMkLst>
        </pc:picChg>
        <pc:picChg chg="add mod">
          <ac:chgData name="Juan Enrique Córdova Woo" userId="48e678bc-df39-4a8a-a383-6b816eb75cf2" providerId="ADAL" clId="{7F916F24-8C26-4DE1-A5BE-D0E5DFB0B6F5}" dt="2024-07-18T19:35:15.312" v="1284"/>
          <ac:picMkLst>
            <pc:docMk/>
            <pc:sldMk cId="1985056801" sldId="2147310029"/>
            <ac:picMk id="25" creationId="{5DDCF29B-00A8-A36C-4DAA-7169935014EE}"/>
          </ac:picMkLst>
        </pc:picChg>
      </pc:sldChg>
      <pc:sldChg chg="addSp delSp modSp mod modShow">
        <pc:chgData name="Juan Enrique Córdova Woo" userId="48e678bc-df39-4a8a-a383-6b816eb75cf2" providerId="ADAL" clId="{7F916F24-8C26-4DE1-A5BE-D0E5DFB0B6F5}" dt="2024-07-18T19:31:18.462" v="1279" actId="1036"/>
        <pc:sldMkLst>
          <pc:docMk/>
          <pc:sldMk cId="1647420427" sldId="2147310030"/>
        </pc:sldMkLst>
        <pc:spChg chg="add del mod">
          <ac:chgData name="Juan Enrique Córdova Woo" userId="48e678bc-df39-4a8a-a383-6b816eb75cf2" providerId="ADAL" clId="{7F916F24-8C26-4DE1-A5BE-D0E5DFB0B6F5}" dt="2024-07-18T19:27:06.957" v="1013" actId="478"/>
          <ac:spMkLst>
            <pc:docMk/>
            <pc:sldMk cId="1647420427" sldId="2147310030"/>
            <ac:spMk id="3" creationId="{8DB197E2-E440-174D-3118-51A46F3A90AC}"/>
          </ac:spMkLst>
        </pc:spChg>
        <pc:spChg chg="add del mod">
          <ac:chgData name="Juan Enrique Córdova Woo" userId="48e678bc-df39-4a8a-a383-6b816eb75cf2" providerId="ADAL" clId="{7F916F24-8C26-4DE1-A5BE-D0E5DFB0B6F5}" dt="2024-07-18T19:30:26.865" v="1235" actId="478"/>
          <ac:spMkLst>
            <pc:docMk/>
            <pc:sldMk cId="1647420427" sldId="2147310030"/>
            <ac:spMk id="5" creationId="{D2BE5B3E-98F6-10C4-1638-5400BC2A9A3A}"/>
          </ac:spMkLst>
        </pc:spChg>
        <pc:spChg chg="del mod">
          <ac:chgData name="Juan Enrique Córdova Woo" userId="48e678bc-df39-4a8a-a383-6b816eb75cf2" providerId="ADAL" clId="{7F916F24-8C26-4DE1-A5BE-D0E5DFB0B6F5}" dt="2024-07-18T19:22:46.687" v="926" actId="478"/>
          <ac:spMkLst>
            <pc:docMk/>
            <pc:sldMk cId="1647420427" sldId="2147310030"/>
            <ac:spMk id="11" creationId="{0FA3F142-40A5-149A-EFA0-D68F2A7B17C4}"/>
          </ac:spMkLst>
        </pc:spChg>
        <pc:spChg chg="add del mod">
          <ac:chgData name="Juan Enrique Córdova Woo" userId="48e678bc-df39-4a8a-a383-6b816eb75cf2" providerId="ADAL" clId="{7F916F24-8C26-4DE1-A5BE-D0E5DFB0B6F5}" dt="2024-07-18T19:28:21.820" v="1078" actId="1036"/>
          <ac:spMkLst>
            <pc:docMk/>
            <pc:sldMk cId="1647420427" sldId="2147310030"/>
            <ac:spMk id="12" creationId="{0DEA32B8-B2C3-D09F-1E0E-4039336B0C57}"/>
          </ac:spMkLst>
        </pc:spChg>
        <pc:spChg chg="add mod">
          <ac:chgData name="Juan Enrique Córdova Woo" userId="48e678bc-df39-4a8a-a383-6b816eb75cf2" providerId="ADAL" clId="{7F916F24-8C26-4DE1-A5BE-D0E5DFB0B6F5}" dt="2024-07-18T19:28:52.359" v="1108" actId="554"/>
          <ac:spMkLst>
            <pc:docMk/>
            <pc:sldMk cId="1647420427" sldId="2147310030"/>
            <ac:spMk id="14" creationId="{172E5F39-17BD-6305-B660-3802863E5935}"/>
          </ac:spMkLst>
        </pc:spChg>
        <pc:spChg chg="add mod">
          <ac:chgData name="Juan Enrique Córdova Woo" userId="48e678bc-df39-4a8a-a383-6b816eb75cf2" providerId="ADAL" clId="{7F916F24-8C26-4DE1-A5BE-D0E5DFB0B6F5}" dt="2024-07-18T19:28:52.359" v="1108" actId="554"/>
          <ac:spMkLst>
            <pc:docMk/>
            <pc:sldMk cId="1647420427" sldId="2147310030"/>
            <ac:spMk id="15" creationId="{57161CDC-7A2B-5587-BE65-BB57A8612986}"/>
          </ac:spMkLst>
        </pc:spChg>
        <pc:spChg chg="add del mod">
          <ac:chgData name="Juan Enrique Córdova Woo" userId="48e678bc-df39-4a8a-a383-6b816eb75cf2" providerId="ADAL" clId="{7F916F24-8C26-4DE1-A5BE-D0E5DFB0B6F5}" dt="2024-07-18T19:28:21.820" v="1078" actId="1036"/>
          <ac:spMkLst>
            <pc:docMk/>
            <pc:sldMk cId="1647420427" sldId="2147310030"/>
            <ac:spMk id="17" creationId="{2C578E58-B162-478D-E03B-25EABF2A58F3}"/>
          </ac:spMkLst>
        </pc:spChg>
        <pc:spChg chg="add mod">
          <ac:chgData name="Juan Enrique Córdova Woo" userId="48e678bc-df39-4a8a-a383-6b816eb75cf2" providerId="ADAL" clId="{7F916F24-8C26-4DE1-A5BE-D0E5DFB0B6F5}" dt="2024-07-18T19:27:24.307" v="1014"/>
          <ac:spMkLst>
            <pc:docMk/>
            <pc:sldMk cId="1647420427" sldId="2147310030"/>
            <ac:spMk id="19" creationId="{5695A8C9-6C7A-5D1C-2179-D4B255550DA4}"/>
          </ac:spMkLst>
        </pc:spChg>
        <pc:spChg chg="add del mod">
          <ac:chgData name="Juan Enrique Córdova Woo" userId="48e678bc-df39-4a8a-a383-6b816eb75cf2" providerId="ADAL" clId="{7F916F24-8C26-4DE1-A5BE-D0E5DFB0B6F5}" dt="2024-07-18T19:28:09.960" v="1066" actId="478"/>
          <ac:spMkLst>
            <pc:docMk/>
            <pc:sldMk cId="1647420427" sldId="2147310030"/>
            <ac:spMk id="20" creationId="{200EBC16-966B-61E5-218D-25C45409EDC9}"/>
          </ac:spMkLst>
        </pc:spChg>
        <pc:spChg chg="add mod">
          <ac:chgData name="Juan Enrique Córdova Woo" userId="48e678bc-df39-4a8a-a383-6b816eb75cf2" providerId="ADAL" clId="{7F916F24-8C26-4DE1-A5BE-D0E5DFB0B6F5}" dt="2024-07-18T19:30:18.779" v="1233" actId="20577"/>
          <ac:spMkLst>
            <pc:docMk/>
            <pc:sldMk cId="1647420427" sldId="2147310030"/>
            <ac:spMk id="22" creationId="{C7D809F0-1975-6774-7243-1976CB978F28}"/>
          </ac:spMkLst>
        </pc:spChg>
        <pc:spChg chg="add mod">
          <ac:chgData name="Juan Enrique Córdova Woo" userId="48e678bc-df39-4a8a-a383-6b816eb75cf2" providerId="ADAL" clId="{7F916F24-8C26-4DE1-A5BE-D0E5DFB0B6F5}" dt="2024-07-18T19:31:18.462" v="1279" actId="1036"/>
          <ac:spMkLst>
            <pc:docMk/>
            <pc:sldMk cId="1647420427" sldId="2147310030"/>
            <ac:spMk id="23" creationId="{A04185D0-880C-D891-A45A-2F2DAC3D8087}"/>
          </ac:spMkLst>
        </pc:spChg>
        <pc:spChg chg="del">
          <ac:chgData name="Juan Enrique Córdova Woo" userId="48e678bc-df39-4a8a-a383-6b816eb75cf2" providerId="ADAL" clId="{7F916F24-8C26-4DE1-A5BE-D0E5DFB0B6F5}" dt="2024-07-18T19:27:06.957" v="1013" actId="478"/>
          <ac:spMkLst>
            <pc:docMk/>
            <pc:sldMk cId="1647420427" sldId="2147310030"/>
            <ac:spMk id="96" creationId="{E82D3E33-0B26-C9AC-9633-99157CD6B410}"/>
          </ac:spMkLst>
        </pc:spChg>
        <pc:grpChg chg="del">
          <ac:chgData name="Juan Enrique Córdova Woo" userId="48e678bc-df39-4a8a-a383-6b816eb75cf2" providerId="ADAL" clId="{7F916F24-8C26-4DE1-A5BE-D0E5DFB0B6F5}" dt="2024-07-18T19:27:06.957" v="1013" actId="478"/>
          <ac:grpSpMkLst>
            <pc:docMk/>
            <pc:sldMk cId="1647420427" sldId="2147310030"/>
            <ac:grpSpMk id="64" creationId="{13BA198A-49D3-4CC2-F35B-C4B7EA3C1C4D}"/>
          </ac:grpSpMkLst>
        </pc:grpChg>
        <pc:graphicFrameChg chg="add del mod">
          <ac:chgData name="Juan Enrique Córdova Woo" userId="48e678bc-df39-4a8a-a383-6b816eb75cf2" providerId="ADAL" clId="{7F916F24-8C26-4DE1-A5BE-D0E5DFB0B6F5}" dt="2024-07-18T19:28:21.820" v="1078" actId="1036"/>
          <ac:graphicFrameMkLst>
            <pc:docMk/>
            <pc:sldMk cId="1647420427" sldId="2147310030"/>
            <ac:graphicFrameMk id="7" creationId="{6BC1843C-2F11-EC4B-160C-54C64554386F}"/>
          </ac:graphicFrameMkLst>
        </pc:graphicFrameChg>
        <pc:graphicFrameChg chg="add del mod">
          <ac:chgData name="Juan Enrique Córdova Woo" userId="48e678bc-df39-4a8a-a383-6b816eb75cf2" providerId="ADAL" clId="{7F916F24-8C26-4DE1-A5BE-D0E5DFB0B6F5}" dt="2024-07-18T19:28:21.820" v="1078" actId="1036"/>
          <ac:graphicFrameMkLst>
            <pc:docMk/>
            <pc:sldMk cId="1647420427" sldId="2147310030"/>
            <ac:graphicFrameMk id="10" creationId="{75360B18-814F-AF9A-6D18-51D88C6008A5}"/>
          </ac:graphicFrameMkLst>
        </pc:graphicFrameChg>
        <pc:graphicFrameChg chg="add mod">
          <ac:chgData name="Juan Enrique Córdova Woo" userId="48e678bc-df39-4a8a-a383-6b816eb75cf2" providerId="ADAL" clId="{7F916F24-8C26-4DE1-A5BE-D0E5DFB0B6F5}" dt="2024-07-18T19:29:02.817" v="1149" actId="1036"/>
          <ac:graphicFrameMkLst>
            <pc:docMk/>
            <pc:sldMk cId="1647420427" sldId="2147310030"/>
            <ac:graphicFrameMk id="16" creationId="{3B277B78-506C-EFB1-E411-F7E3814BF1B7}"/>
          </ac:graphicFrameMkLst>
        </pc:graphicFrameChg>
        <pc:graphicFrameChg chg="del">
          <ac:chgData name="Juan Enrique Córdova Woo" userId="48e678bc-df39-4a8a-a383-6b816eb75cf2" providerId="ADAL" clId="{7F916F24-8C26-4DE1-A5BE-D0E5DFB0B6F5}" dt="2024-07-18T19:27:06.957" v="1013" actId="478"/>
          <ac:graphicFrameMkLst>
            <pc:docMk/>
            <pc:sldMk cId="1647420427" sldId="2147310030"/>
            <ac:graphicFrameMk id="63" creationId="{E2372B47-3E77-9D08-DD84-57DDABEFA952}"/>
          </ac:graphicFrameMkLst>
        </pc:graphicFrameChg>
        <pc:picChg chg="add del mod">
          <ac:chgData name="Juan Enrique Córdova Woo" userId="48e678bc-df39-4a8a-a383-6b816eb75cf2" providerId="ADAL" clId="{7F916F24-8C26-4DE1-A5BE-D0E5DFB0B6F5}" dt="2024-07-18T19:29:54.778" v="1151" actId="478"/>
          <ac:picMkLst>
            <pc:docMk/>
            <pc:sldMk cId="1647420427" sldId="2147310030"/>
            <ac:picMk id="4" creationId="{11C823F7-B07D-7373-9D53-99680B6D3A8B}"/>
          </ac:picMkLst>
        </pc:picChg>
        <pc:picChg chg="add mod">
          <ac:chgData name="Juan Enrique Córdova Woo" userId="48e678bc-df39-4a8a-a383-6b816eb75cf2" providerId="ADAL" clId="{7F916F24-8C26-4DE1-A5BE-D0E5DFB0B6F5}" dt="2024-07-18T19:27:24.307" v="1014"/>
          <ac:picMkLst>
            <pc:docMk/>
            <pc:sldMk cId="1647420427" sldId="2147310030"/>
            <ac:picMk id="6" creationId="{77AEBA39-EA3E-CB7E-2063-F26D308BAFA3}"/>
          </ac:picMkLst>
        </pc:picChg>
        <pc:picChg chg="add del mod">
          <ac:chgData name="Juan Enrique Córdova Woo" userId="48e678bc-df39-4a8a-a383-6b816eb75cf2" providerId="ADAL" clId="{7F916F24-8C26-4DE1-A5BE-D0E5DFB0B6F5}" dt="2024-07-18T19:28:21.820" v="1078" actId="1036"/>
          <ac:picMkLst>
            <pc:docMk/>
            <pc:sldMk cId="1647420427" sldId="2147310030"/>
            <ac:picMk id="9" creationId="{92849051-18A9-9F85-6211-7AD664B4253A}"/>
          </ac:picMkLst>
        </pc:picChg>
        <pc:picChg chg="add mod">
          <ac:chgData name="Juan Enrique Córdova Woo" userId="48e678bc-df39-4a8a-a383-6b816eb75cf2" providerId="ADAL" clId="{7F916F24-8C26-4DE1-A5BE-D0E5DFB0B6F5}" dt="2024-07-18T19:29:55.570" v="1152"/>
          <ac:picMkLst>
            <pc:docMk/>
            <pc:sldMk cId="1647420427" sldId="2147310030"/>
            <ac:picMk id="21" creationId="{FCF80FE8-EDCC-BD55-F8CB-3B49047EDA28}"/>
          </ac:picMkLst>
        </pc:picChg>
        <pc:picChg chg="del">
          <ac:chgData name="Juan Enrique Córdova Woo" userId="48e678bc-df39-4a8a-a383-6b816eb75cf2" providerId="ADAL" clId="{7F916F24-8C26-4DE1-A5BE-D0E5DFB0B6F5}" dt="2024-07-18T19:19:44.952" v="783" actId="478"/>
          <ac:picMkLst>
            <pc:docMk/>
            <pc:sldMk cId="1647420427" sldId="2147310030"/>
            <ac:picMk id="24" creationId="{79CB22D7-7579-6CB1-96FC-A44A41F17FD0}"/>
          </ac:picMkLst>
        </pc:picChg>
        <pc:cxnChg chg="add del mod">
          <ac:chgData name="Juan Enrique Córdova Woo" userId="48e678bc-df39-4a8a-a383-6b816eb75cf2" providerId="ADAL" clId="{7F916F24-8C26-4DE1-A5BE-D0E5DFB0B6F5}" dt="2024-07-18T19:28:21.820" v="1078" actId="1036"/>
          <ac:cxnSpMkLst>
            <pc:docMk/>
            <pc:sldMk cId="1647420427" sldId="2147310030"/>
            <ac:cxnSpMk id="13" creationId="{26D450FB-5396-D68D-DA81-7C30F56551AD}"/>
          </ac:cxnSpMkLst>
        </pc:cxnChg>
        <pc:cxnChg chg="add del mod">
          <ac:chgData name="Juan Enrique Córdova Woo" userId="48e678bc-df39-4a8a-a383-6b816eb75cf2" providerId="ADAL" clId="{7F916F24-8C26-4DE1-A5BE-D0E5DFB0B6F5}" dt="2024-07-18T19:28:21.820" v="1078" actId="1036"/>
          <ac:cxnSpMkLst>
            <pc:docMk/>
            <pc:sldMk cId="1647420427" sldId="2147310030"/>
            <ac:cxnSpMk id="18" creationId="{2EC077E8-F202-6767-205B-6DB9B6A71898}"/>
          </ac:cxnSpMkLst>
        </pc:cxnChg>
      </pc:sldChg>
      <pc:sldChg chg="addSp delSp modSp mod modShow">
        <pc:chgData name="Juan Enrique Córdova Woo" userId="48e678bc-df39-4a8a-a383-6b816eb75cf2" providerId="ADAL" clId="{7F916F24-8C26-4DE1-A5BE-D0E5DFB0B6F5}" dt="2024-07-18T19:24:03.185" v="1000" actId="554"/>
        <pc:sldMkLst>
          <pc:docMk/>
          <pc:sldMk cId="2573264900" sldId="2147310031"/>
        </pc:sldMkLst>
        <pc:spChg chg="add mod">
          <ac:chgData name="Juan Enrique Córdova Woo" userId="48e678bc-df39-4a8a-a383-6b816eb75cf2" providerId="ADAL" clId="{7F916F24-8C26-4DE1-A5BE-D0E5DFB0B6F5}" dt="2024-07-18T14:25:44.645" v="538"/>
          <ac:spMkLst>
            <pc:docMk/>
            <pc:sldMk cId="2573264900" sldId="2147310031"/>
            <ac:spMk id="7" creationId="{3E1907A1-DD6F-482B-D3BF-99933A656B80}"/>
          </ac:spMkLst>
        </pc:spChg>
        <pc:spChg chg="add mod">
          <ac:chgData name="Juan Enrique Córdova Woo" userId="48e678bc-df39-4a8a-a383-6b816eb75cf2" providerId="ADAL" clId="{7F916F24-8C26-4DE1-A5BE-D0E5DFB0B6F5}" dt="2024-07-18T19:24:03.185" v="1000" actId="554"/>
          <ac:spMkLst>
            <pc:docMk/>
            <pc:sldMk cId="2573264900" sldId="2147310031"/>
            <ac:spMk id="10" creationId="{88550022-4C73-6193-2B95-F5BAE8B7A854}"/>
          </ac:spMkLst>
        </pc:spChg>
        <pc:spChg chg="del mod">
          <ac:chgData name="Juan Enrique Córdova Woo" userId="48e678bc-df39-4a8a-a383-6b816eb75cf2" providerId="ADAL" clId="{7F916F24-8C26-4DE1-A5BE-D0E5DFB0B6F5}" dt="2024-07-18T19:22:27.348" v="914" actId="478"/>
          <ac:spMkLst>
            <pc:docMk/>
            <pc:sldMk cId="2573264900" sldId="2147310031"/>
            <ac:spMk id="11" creationId="{0FA3F142-40A5-149A-EFA0-D68F2A7B17C4}"/>
          </ac:spMkLst>
        </pc:spChg>
        <pc:picChg chg="add mod">
          <ac:chgData name="Juan Enrique Córdova Woo" userId="48e678bc-df39-4a8a-a383-6b816eb75cf2" providerId="ADAL" clId="{7F916F24-8C26-4DE1-A5BE-D0E5DFB0B6F5}" dt="2024-07-18T19:24:03.185" v="1000" actId="554"/>
          <ac:picMkLst>
            <pc:docMk/>
            <pc:sldMk cId="2573264900" sldId="2147310031"/>
            <ac:picMk id="9" creationId="{1165C5CA-53E5-C695-ED13-3878DF1CC437}"/>
          </ac:picMkLst>
        </pc:picChg>
        <pc:picChg chg="del">
          <ac:chgData name="Juan Enrique Córdova Woo" userId="48e678bc-df39-4a8a-a383-6b816eb75cf2" providerId="ADAL" clId="{7F916F24-8C26-4DE1-A5BE-D0E5DFB0B6F5}" dt="2024-07-18T19:19:48.329" v="785" actId="478"/>
          <ac:picMkLst>
            <pc:docMk/>
            <pc:sldMk cId="2573264900" sldId="2147310031"/>
            <ac:picMk id="24" creationId="{79CB22D7-7579-6CB1-96FC-A44A41F17FD0}"/>
          </ac:picMkLst>
        </pc:picChg>
      </pc:sldChg>
      <pc:sldChg chg="addSp delSp modSp mod modShow">
        <pc:chgData name="Juan Enrique Córdova Woo" userId="48e678bc-df39-4a8a-a383-6b816eb75cf2" providerId="ADAL" clId="{7F916F24-8C26-4DE1-A5BE-D0E5DFB0B6F5}" dt="2024-07-18T19:24:10.843" v="1001" actId="554"/>
        <pc:sldMkLst>
          <pc:docMk/>
          <pc:sldMk cId="2307649156" sldId="2147310032"/>
        </pc:sldMkLst>
        <pc:spChg chg="add mod">
          <ac:chgData name="Juan Enrique Córdova Woo" userId="48e678bc-df39-4a8a-a383-6b816eb75cf2" providerId="ADAL" clId="{7F916F24-8C26-4DE1-A5BE-D0E5DFB0B6F5}" dt="2024-07-18T14:26:10.049" v="542"/>
          <ac:spMkLst>
            <pc:docMk/>
            <pc:sldMk cId="2307649156" sldId="2147310032"/>
            <ac:spMk id="3" creationId="{AD0AA4E3-7BE5-DE61-E590-DCBC0331E78B}"/>
          </ac:spMkLst>
        </pc:spChg>
        <pc:spChg chg="add mod">
          <ac:chgData name="Juan Enrique Córdova Woo" userId="48e678bc-df39-4a8a-a383-6b816eb75cf2" providerId="ADAL" clId="{7F916F24-8C26-4DE1-A5BE-D0E5DFB0B6F5}" dt="2024-07-18T19:24:10.843" v="1001" actId="554"/>
          <ac:spMkLst>
            <pc:docMk/>
            <pc:sldMk cId="2307649156" sldId="2147310032"/>
            <ac:spMk id="5" creationId="{5017FF9F-F90F-271A-9288-2675A6DDDF62}"/>
          </ac:spMkLst>
        </pc:spChg>
        <pc:spChg chg="del">
          <ac:chgData name="Juan Enrique Córdova Woo" userId="48e678bc-df39-4a8a-a383-6b816eb75cf2" providerId="ADAL" clId="{7F916F24-8C26-4DE1-A5BE-D0E5DFB0B6F5}" dt="2024-07-18T19:21:36.898" v="855" actId="478"/>
          <ac:spMkLst>
            <pc:docMk/>
            <pc:sldMk cId="2307649156" sldId="2147310032"/>
            <ac:spMk id="11" creationId="{0FA3F142-40A5-149A-EFA0-D68F2A7B17C4}"/>
          </ac:spMkLst>
        </pc:spChg>
        <pc:picChg chg="add mod">
          <ac:chgData name="Juan Enrique Córdova Woo" userId="48e678bc-df39-4a8a-a383-6b816eb75cf2" providerId="ADAL" clId="{7F916F24-8C26-4DE1-A5BE-D0E5DFB0B6F5}" dt="2024-07-18T19:24:10.843" v="1001" actId="554"/>
          <ac:picMkLst>
            <pc:docMk/>
            <pc:sldMk cId="2307649156" sldId="2147310032"/>
            <ac:picMk id="4" creationId="{2CA2A301-7519-4B04-BF09-8403594001CD}"/>
          </ac:picMkLst>
        </pc:picChg>
        <pc:picChg chg="del">
          <ac:chgData name="Juan Enrique Córdova Woo" userId="48e678bc-df39-4a8a-a383-6b816eb75cf2" providerId="ADAL" clId="{7F916F24-8C26-4DE1-A5BE-D0E5DFB0B6F5}" dt="2024-07-18T19:19:54.917" v="787" actId="478"/>
          <ac:picMkLst>
            <pc:docMk/>
            <pc:sldMk cId="2307649156" sldId="2147310032"/>
            <ac:picMk id="24" creationId="{79CB22D7-7579-6CB1-96FC-A44A41F17FD0}"/>
          </ac:picMkLst>
        </pc:picChg>
      </pc:sldChg>
      <pc:sldChg chg="addSp delSp modSp mod modShow">
        <pc:chgData name="Juan Enrique Córdova Woo" userId="48e678bc-df39-4a8a-a383-6b816eb75cf2" providerId="ADAL" clId="{7F916F24-8C26-4DE1-A5BE-D0E5DFB0B6F5}" dt="2024-07-18T19:23:48.420" v="998" actId="554"/>
        <pc:sldMkLst>
          <pc:docMk/>
          <pc:sldMk cId="3233114531" sldId="2147310033"/>
        </pc:sldMkLst>
        <pc:spChg chg="del mod">
          <ac:chgData name="Juan Enrique Córdova Woo" userId="48e678bc-df39-4a8a-a383-6b816eb75cf2" providerId="ADAL" clId="{7F916F24-8C26-4DE1-A5BE-D0E5DFB0B6F5}" dt="2024-07-18T19:23:41.605" v="997" actId="478"/>
          <ac:spMkLst>
            <pc:docMk/>
            <pc:sldMk cId="3233114531" sldId="2147310033"/>
            <ac:spMk id="2" creationId="{B69CE8D9-C56E-D8EE-E529-AAAE8056EDE1}"/>
          </ac:spMkLst>
        </pc:spChg>
        <pc:spChg chg="add mod">
          <ac:chgData name="Juan Enrique Córdova Woo" userId="48e678bc-df39-4a8a-a383-6b816eb75cf2" providerId="ADAL" clId="{7F916F24-8C26-4DE1-A5BE-D0E5DFB0B6F5}" dt="2024-07-18T17:05:21.800" v="748"/>
          <ac:spMkLst>
            <pc:docMk/>
            <pc:sldMk cId="3233114531" sldId="2147310033"/>
            <ac:spMk id="3" creationId="{958D03F7-5D98-6211-AD9A-898D83DB1E9B}"/>
          </ac:spMkLst>
        </pc:spChg>
        <pc:spChg chg="add mod">
          <ac:chgData name="Juan Enrique Córdova Woo" userId="48e678bc-df39-4a8a-a383-6b816eb75cf2" providerId="ADAL" clId="{7F916F24-8C26-4DE1-A5BE-D0E5DFB0B6F5}" dt="2024-07-18T19:23:48.420" v="998" actId="554"/>
          <ac:spMkLst>
            <pc:docMk/>
            <pc:sldMk cId="3233114531" sldId="2147310033"/>
            <ac:spMk id="7" creationId="{5010A3BD-22D1-216A-211E-F8622B62A2E1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16" creationId="{FCBEFD5F-1BB8-4D29-93EA-129B3E2B3628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17" creationId="{C503ADD9-461C-4FF4-A565-D96EC36459F0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19" creationId="{2CFE5CA9-36AB-4FC1-9990-DABDFA03BA92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44" creationId="{4303F051-90FC-45D0-A873-B90173F8792F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46" creationId="{4A516B9C-269E-4665-8D4C-55DFA5A6DA7F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47" creationId="{BA8EBBD0-BBF1-4116-B722-C9A6C6B66EA6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48" creationId="{312E03CA-31EB-48D8-B6A5-ACAB4AEA36A1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52" creationId="{3E7E41AD-2787-4F59-B3FB-AB54F65D1B88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53" creationId="{11B07484-F01B-46D9-99D6-752B00185571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54" creationId="{CFAA8449-F002-4543-AB58-D11AAD3407A1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55" creationId="{B0B75370-9584-4A2E-8E04-8F985DF2ECA4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56" creationId="{274234E4-F3CD-43E0-9C2E-D0502D86A32D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57" creationId="{5B741152-712E-47C0-8441-96731A4AAD86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58" creationId="{D7CFB495-3FEE-4B3E-B1A6-5A666966D33B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59" creationId="{E64F8576-BDCE-4A92-B652-F252BBA6FB8C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70" creationId="{F6B8700B-EAC3-4CAE-9D43-5ECA56AB8E26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71" creationId="{FC5D5B6D-1E61-45F9-AF07-86E79FC293E5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72" creationId="{CC600A1B-B284-4BBE-8D58-1E5018EC9ED8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73" creationId="{2225B17E-F6A9-4219-B11C-BD6BA4F3A053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74" creationId="{AE045545-7745-44EA-85A2-936BD70A900C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75" creationId="{FCB2042C-2C11-4142-970E-4A071CA0F6C6}"/>
          </ac:spMkLst>
        </pc:spChg>
        <pc:spChg chg="add del mod">
          <ac:chgData name="Juan Enrique Córdova Woo" userId="48e678bc-df39-4a8a-a383-6b816eb75cf2" providerId="ADAL" clId="{7F916F24-8C26-4DE1-A5BE-D0E5DFB0B6F5}" dt="2024-07-18T17:05:40.479" v="766" actId="1037"/>
          <ac:spMkLst>
            <pc:docMk/>
            <pc:sldMk cId="3233114531" sldId="2147310033"/>
            <ac:spMk id="78" creationId="{EAA79790-5E83-4D91-AF92-F737299E0060}"/>
          </ac:spMkLst>
        </pc:spChg>
        <pc:picChg chg="add mod">
          <ac:chgData name="Juan Enrique Córdova Woo" userId="48e678bc-df39-4a8a-a383-6b816eb75cf2" providerId="ADAL" clId="{7F916F24-8C26-4DE1-A5BE-D0E5DFB0B6F5}" dt="2024-07-18T19:23:48.420" v="998" actId="554"/>
          <ac:picMkLst>
            <pc:docMk/>
            <pc:sldMk cId="3233114531" sldId="2147310033"/>
            <ac:picMk id="5" creationId="{9AB8A80A-B2E0-4669-70AC-9F66F9069F11}"/>
          </ac:picMkLst>
        </pc:picChg>
        <pc:picChg chg="del">
          <ac:chgData name="Juan Enrique Córdova Woo" userId="48e678bc-df39-4a8a-a383-6b816eb75cf2" providerId="ADAL" clId="{7F916F24-8C26-4DE1-A5BE-D0E5DFB0B6F5}" dt="2024-07-18T19:19:41.630" v="781" actId="478"/>
          <ac:picMkLst>
            <pc:docMk/>
            <pc:sldMk cId="3233114531" sldId="2147310033"/>
            <ac:picMk id="6" creationId="{793F0595-CAF9-BC1F-F75E-4EC092A61B1A}"/>
          </ac:picMkLst>
        </pc:picChg>
      </pc:sldChg>
      <pc:sldChg chg="add">
        <pc:chgData name="Juan Enrique Córdova Woo" userId="48e678bc-df39-4a8a-a383-6b816eb75cf2" providerId="ADAL" clId="{7F916F24-8C26-4DE1-A5BE-D0E5DFB0B6F5}" dt="2024-07-18T19:26:54.319" v="1012" actId="2890"/>
        <pc:sldMkLst>
          <pc:docMk/>
          <pc:sldMk cId="78904634" sldId="2147310034"/>
        </pc:sldMkLst>
      </pc:sldChg>
    </pc:docChg>
  </pc:docChgLst>
  <pc:docChgLst>
    <pc:chgData name="Fernando Enrique Nuñez Zapata" userId="4887fb29-3871-42a7-b0aa-ea8d45a5c181" providerId="ADAL" clId="{F971DDE7-5A12-4941-9E72-8B4B4EB56397}"/>
    <pc:docChg chg="undo redo custSel addSld delSld modSld modSection">
      <pc:chgData name="Fernando Enrique Nuñez Zapata" userId="4887fb29-3871-42a7-b0aa-ea8d45a5c181" providerId="ADAL" clId="{F971DDE7-5A12-4941-9E72-8B4B4EB56397}" dt="2024-07-18T21:00:56.194" v="1210" actId="478"/>
      <pc:docMkLst>
        <pc:docMk/>
      </pc:docMkLst>
      <pc:sldChg chg="modSp mod">
        <pc:chgData name="Fernando Enrique Nuñez Zapata" userId="4887fb29-3871-42a7-b0aa-ea8d45a5c181" providerId="ADAL" clId="{F971DDE7-5A12-4941-9E72-8B4B4EB56397}" dt="2024-07-09T21:08:57.980" v="5" actId="20577"/>
        <pc:sldMkLst>
          <pc:docMk/>
          <pc:sldMk cId="2525707367" sldId="272"/>
        </pc:sldMkLst>
        <pc:spChg chg="mod">
          <ac:chgData name="Fernando Enrique Nuñez Zapata" userId="4887fb29-3871-42a7-b0aa-ea8d45a5c181" providerId="ADAL" clId="{F971DDE7-5A12-4941-9E72-8B4B4EB56397}" dt="2024-07-09T21:08:57.980" v="5" actId="20577"/>
          <ac:spMkLst>
            <pc:docMk/>
            <pc:sldMk cId="2525707367" sldId="272"/>
            <ac:spMk id="5" creationId="{AEEBF140-B757-413E-7EC8-737EE86AFB77}"/>
          </ac:spMkLst>
        </pc:spChg>
      </pc:sldChg>
      <pc:sldChg chg="addSp modSp mod modAnim">
        <pc:chgData name="Fernando Enrique Nuñez Zapata" userId="4887fb29-3871-42a7-b0aa-ea8d45a5c181" providerId="ADAL" clId="{F971DDE7-5A12-4941-9E72-8B4B4EB56397}" dt="2024-07-18T15:23:12.456" v="1195"/>
        <pc:sldMkLst>
          <pc:docMk/>
          <pc:sldMk cId="3859250616" sldId="2147310010"/>
        </pc:sldMkLst>
        <pc:spChg chg="add mod">
          <ac:chgData name="Fernando Enrique Nuñez Zapata" userId="4887fb29-3871-42a7-b0aa-ea8d45a5c181" providerId="ADAL" clId="{F971DDE7-5A12-4941-9E72-8B4B4EB56397}" dt="2024-07-17T16:55:30.015" v="981" actId="1076"/>
          <ac:spMkLst>
            <pc:docMk/>
            <pc:sldMk cId="3859250616" sldId="2147310010"/>
            <ac:spMk id="5" creationId="{F4BE04F7-C72A-089C-779D-D1A62994E475}"/>
          </ac:spMkLst>
        </pc:spChg>
        <pc:spChg chg="add mod">
          <ac:chgData name="Fernando Enrique Nuñez Zapata" userId="4887fb29-3871-42a7-b0aa-ea8d45a5c181" providerId="ADAL" clId="{F971DDE7-5A12-4941-9E72-8B4B4EB56397}" dt="2024-07-17T16:55:44.214" v="983" actId="1076"/>
          <ac:spMkLst>
            <pc:docMk/>
            <pc:sldMk cId="3859250616" sldId="2147310010"/>
            <ac:spMk id="18" creationId="{759FCAA5-0F4B-EA09-2DB6-65D631756F27}"/>
          </ac:spMkLst>
        </pc:spChg>
        <pc:spChg chg="mod">
          <ac:chgData name="Fernando Enrique Nuñez Zapata" userId="4887fb29-3871-42a7-b0aa-ea8d45a5c181" providerId="ADAL" clId="{F971DDE7-5A12-4941-9E72-8B4B4EB56397}" dt="2024-07-17T16:55:12.825" v="979" actId="20577"/>
          <ac:spMkLst>
            <pc:docMk/>
            <pc:sldMk cId="3859250616" sldId="2147310010"/>
            <ac:spMk id="102" creationId="{80DD0410-EF02-293E-A16A-F38EC64F2229}"/>
          </ac:spMkLst>
        </pc:spChg>
        <pc:spChg chg="mod">
          <ac:chgData name="Fernando Enrique Nuñez Zapata" userId="4887fb29-3871-42a7-b0aa-ea8d45a5c181" providerId="ADAL" clId="{F971DDE7-5A12-4941-9E72-8B4B4EB56397}" dt="2024-07-17T16:46:08.724" v="800" actId="108"/>
          <ac:spMkLst>
            <pc:docMk/>
            <pc:sldMk cId="3859250616" sldId="2147310010"/>
            <ac:spMk id="129" creationId="{4468E9DE-CDB6-81BB-F3B6-E35031C38B74}"/>
          </ac:spMkLst>
        </pc:spChg>
        <pc:graphicFrameChg chg="mod modGraphic">
          <ac:chgData name="Fernando Enrique Nuñez Zapata" userId="4887fb29-3871-42a7-b0aa-ea8d45a5c181" providerId="ADAL" clId="{F971DDE7-5A12-4941-9E72-8B4B4EB56397}" dt="2024-07-17T16:13:41.061" v="428" actId="2057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6:08:26.811" v="393" actId="20577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5:46:40.656" v="289" actId="20577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</pc:sldChg>
      <pc:sldChg chg="addSp modSp mod modAnim">
        <pc:chgData name="Fernando Enrique Nuñez Zapata" userId="4887fb29-3871-42a7-b0aa-ea8d45a5c181" providerId="ADAL" clId="{F971DDE7-5A12-4941-9E72-8B4B4EB56397}" dt="2024-07-18T15:25:45.123" v="1200"/>
        <pc:sldMkLst>
          <pc:docMk/>
          <pc:sldMk cId="659418568" sldId="2147310011"/>
        </pc:sldMkLst>
        <pc:spChg chg="mod">
          <ac:chgData name="Fernando Enrique Nuñez Zapata" userId="4887fb29-3871-42a7-b0aa-ea8d45a5c181" providerId="ADAL" clId="{F971DDE7-5A12-4941-9E72-8B4B4EB56397}" dt="2024-07-17T16:58:57.705" v="986" actId="108"/>
          <ac:spMkLst>
            <pc:docMk/>
            <pc:sldMk cId="659418568" sldId="2147310011"/>
            <ac:spMk id="19" creationId="{219F0228-A5E0-622A-2D4F-539E5C6179DC}"/>
          </ac:spMkLst>
        </pc:spChg>
        <pc:spChg chg="mod">
          <ac:chgData name="Fernando Enrique Nuñez Zapata" userId="4887fb29-3871-42a7-b0aa-ea8d45a5c181" providerId="ADAL" clId="{F971DDE7-5A12-4941-9E72-8B4B4EB56397}" dt="2024-07-17T16:56:31.996" v="984" actId="108"/>
          <ac:spMkLst>
            <pc:docMk/>
            <pc:sldMk cId="659418568" sldId="2147310011"/>
            <ac:spMk id="46" creationId="{3700AA40-A3C7-6897-6731-84A9E7843935}"/>
          </ac:spMkLst>
        </pc:spChg>
        <pc:spChg chg="add mod">
          <ac:chgData name="Fernando Enrique Nuñez Zapata" userId="4887fb29-3871-42a7-b0aa-ea8d45a5c181" providerId="ADAL" clId="{F971DDE7-5A12-4941-9E72-8B4B4EB56397}" dt="2024-07-17T16:20:27.699" v="529" actId="1076"/>
          <ac:spMkLst>
            <pc:docMk/>
            <pc:sldMk cId="659418568" sldId="2147310011"/>
            <ac:spMk id="47" creationId="{D864349B-A24E-E590-7F85-D2322F43A251}"/>
          </ac:spMkLst>
        </pc:spChg>
        <pc:spChg chg="add mod">
          <ac:chgData name="Fernando Enrique Nuñez Zapata" userId="4887fb29-3871-42a7-b0aa-ea8d45a5c181" providerId="ADAL" clId="{F971DDE7-5A12-4941-9E72-8B4B4EB56397}" dt="2024-07-17T16:20:40.628" v="531" actId="1076"/>
          <ac:spMkLst>
            <pc:docMk/>
            <pc:sldMk cId="659418568" sldId="2147310011"/>
            <ac:spMk id="59" creationId="{D9BE4A94-9E97-702C-69ED-0318C72C47ED}"/>
          </ac:spMkLst>
        </pc:spChg>
        <pc:spChg chg="mod">
          <ac:chgData name="Fernando Enrique Nuñez Zapata" userId="4887fb29-3871-42a7-b0aa-ea8d45a5c181" providerId="ADAL" clId="{F971DDE7-5A12-4941-9E72-8B4B4EB56397}" dt="2024-07-17T16:58:42.695" v="985" actId="108"/>
          <ac:spMkLst>
            <pc:docMk/>
            <pc:sldMk cId="659418568" sldId="2147310011"/>
            <ac:spMk id="87" creationId="{B565D2E5-581F-DB11-AE84-8EF6D06094DA}"/>
          </ac:spMkLst>
        </pc:spChg>
        <pc:graphicFrameChg chg="mod modGraphic">
          <ac:chgData name="Fernando Enrique Nuñez Zapata" userId="4887fb29-3871-42a7-b0aa-ea8d45a5c181" providerId="ADAL" clId="{F971DDE7-5A12-4941-9E72-8B4B4EB56397}" dt="2024-07-17T19:22:57.701" v="1154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6:09:50.499" v="418" actId="20577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5:53:56.504" v="324" actId="20577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</pc:sldChg>
      <pc:sldChg chg="modSp mod modAnim">
        <pc:chgData name="Fernando Enrique Nuñez Zapata" userId="4887fb29-3871-42a7-b0aa-ea8d45a5c181" providerId="ADAL" clId="{F971DDE7-5A12-4941-9E72-8B4B4EB56397}" dt="2024-07-18T15:27:06.230" v="1203"/>
        <pc:sldMkLst>
          <pc:docMk/>
          <pc:sldMk cId="1253964456" sldId="2147310012"/>
        </pc:sldMkLst>
        <pc:spChg chg="mod">
          <ac:chgData name="Fernando Enrique Nuñez Zapata" userId="4887fb29-3871-42a7-b0aa-ea8d45a5c181" providerId="ADAL" clId="{F971DDE7-5A12-4941-9E72-8B4B4EB56397}" dt="2024-07-17T17:01:37.395" v="987" actId="108"/>
          <ac:spMkLst>
            <pc:docMk/>
            <pc:sldMk cId="1253964456" sldId="2147310012"/>
            <ac:spMk id="11" creationId="{49ED0FCD-5613-96D5-076D-A718AB6A8B28}"/>
          </ac:spMkLst>
        </pc:spChg>
        <pc:graphicFrameChg chg="mod modGraphic">
          <ac:chgData name="Fernando Enrique Nuñez Zapata" userId="4887fb29-3871-42a7-b0aa-ea8d45a5c181" providerId="ADAL" clId="{F971DDE7-5A12-4941-9E72-8B4B4EB56397}" dt="2024-07-17T16:15:01.766" v="454" actId="2057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6:09:25.523" v="415" actId="20577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5:55:04.918" v="341" actId="20577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</pc:sldChg>
      <pc:sldChg chg="addSp modSp mod modAnim">
        <pc:chgData name="Fernando Enrique Nuñez Zapata" userId="4887fb29-3871-42a7-b0aa-ea8d45a5c181" providerId="ADAL" clId="{F971DDE7-5A12-4941-9E72-8B4B4EB56397}" dt="2024-07-18T15:28:36.558" v="1206"/>
        <pc:sldMkLst>
          <pc:docMk/>
          <pc:sldMk cId="3220162634" sldId="2147310013"/>
        </pc:sldMkLst>
        <pc:spChg chg="mod">
          <ac:chgData name="Fernando Enrique Nuñez Zapata" userId="4887fb29-3871-42a7-b0aa-ea8d45a5c181" providerId="ADAL" clId="{F971DDE7-5A12-4941-9E72-8B4B4EB56397}" dt="2024-07-17T17:08:11.311" v="1024" actId="113"/>
          <ac:spMkLst>
            <pc:docMk/>
            <pc:sldMk cId="3220162634" sldId="2147310013"/>
            <ac:spMk id="4" creationId="{214813B5-CFED-29B4-BF6F-6CDF2DFD1998}"/>
          </ac:spMkLst>
        </pc:spChg>
        <pc:spChg chg="mod">
          <ac:chgData name="Fernando Enrique Nuñez Zapata" userId="4887fb29-3871-42a7-b0aa-ea8d45a5c181" providerId="ADAL" clId="{F971DDE7-5A12-4941-9E72-8B4B4EB56397}" dt="2024-07-17T17:03:14.899" v="988" actId="108"/>
          <ac:spMkLst>
            <pc:docMk/>
            <pc:sldMk cId="3220162634" sldId="2147310013"/>
            <ac:spMk id="30" creationId="{1B3594EE-5C7D-88B2-19F1-0A643220AC5B}"/>
          </ac:spMkLst>
        </pc:spChg>
        <pc:spChg chg="add mod">
          <ac:chgData name="Fernando Enrique Nuñez Zapata" userId="4887fb29-3871-42a7-b0aa-ea8d45a5c181" providerId="ADAL" clId="{F971DDE7-5A12-4941-9E72-8B4B4EB56397}" dt="2024-07-17T17:08:05.682" v="1023" actId="1076"/>
          <ac:spMkLst>
            <pc:docMk/>
            <pc:sldMk cId="3220162634" sldId="2147310013"/>
            <ac:spMk id="39" creationId="{A09B774A-456B-D4AC-519A-D04D46F2BC7B}"/>
          </ac:spMkLst>
        </pc:spChg>
        <pc:graphicFrameChg chg="mod modGraphic">
          <ac:chgData name="Fernando Enrique Nuñez Zapata" userId="4887fb29-3871-42a7-b0aa-ea8d45a5c181" providerId="ADAL" clId="{F971DDE7-5A12-4941-9E72-8B4B4EB56397}" dt="2024-07-17T16:15:17.658" v="460" actId="2057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5:57:47.301" v="379" actId="20577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5:46:21.817" v="286" actId="20577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</pc:sldChg>
      <pc:sldChg chg="addSp delSp modSp mod">
        <pc:chgData name="Fernando Enrique Nuñez Zapata" userId="4887fb29-3871-42a7-b0aa-ea8d45a5c181" providerId="ADAL" clId="{F971DDE7-5A12-4941-9E72-8B4B4EB56397}" dt="2024-07-17T17:23:17.155" v="1116" actId="478"/>
        <pc:sldMkLst>
          <pc:docMk/>
          <pc:sldMk cId="649892551" sldId="2147310016"/>
        </pc:sldMkLst>
        <pc:spChg chg="del">
          <ac:chgData name="Fernando Enrique Nuñez Zapata" userId="4887fb29-3871-42a7-b0aa-ea8d45a5c181" providerId="ADAL" clId="{F971DDE7-5A12-4941-9E72-8B4B4EB56397}" dt="2024-07-17T17:23:17.155" v="1116" actId="478"/>
          <ac:spMkLst>
            <pc:docMk/>
            <pc:sldMk cId="649892551" sldId="2147310016"/>
            <ac:spMk id="3" creationId="{F7604BD2-6F6E-AB13-72B2-49C43AE87223}"/>
          </ac:spMkLst>
        </pc:spChg>
        <pc:spChg chg="add mod">
          <ac:chgData name="Fernando Enrique Nuñez Zapata" userId="4887fb29-3871-42a7-b0aa-ea8d45a5c181" providerId="ADAL" clId="{F971DDE7-5A12-4941-9E72-8B4B4EB56397}" dt="2024-07-17T16:33:36.465" v="587" actId="1076"/>
          <ac:spMkLst>
            <pc:docMk/>
            <pc:sldMk cId="649892551" sldId="2147310016"/>
            <ac:spMk id="6" creationId="{657908EC-AD3D-5E1A-E39D-D4D11E952763}"/>
          </ac:spMkLst>
        </pc:spChg>
      </pc:sldChg>
      <pc:sldChg chg="del">
        <pc:chgData name="Fernando Enrique Nuñez Zapata" userId="4887fb29-3871-42a7-b0aa-ea8d45a5c181" providerId="ADAL" clId="{F971DDE7-5A12-4941-9E72-8B4B4EB56397}" dt="2024-07-09T21:09:35.697" v="8" actId="47"/>
        <pc:sldMkLst>
          <pc:docMk/>
          <pc:sldMk cId="2084330027" sldId="2147310017"/>
        </pc:sldMkLst>
      </pc:sldChg>
      <pc:sldChg chg="addSp delSp modSp mod delAnim">
        <pc:chgData name="Fernando Enrique Nuñez Zapata" userId="4887fb29-3871-42a7-b0aa-ea8d45a5c181" providerId="ADAL" clId="{F971DDE7-5A12-4941-9E72-8B4B4EB56397}" dt="2024-07-17T16:45:20.670" v="799" actId="478"/>
        <pc:sldMkLst>
          <pc:docMk/>
          <pc:sldMk cId="3746985532" sldId="2147310020"/>
        </pc:sldMkLst>
        <pc:spChg chg="mod">
          <ac:chgData name="Fernando Enrique Nuñez Zapata" userId="4887fb29-3871-42a7-b0aa-ea8d45a5c181" providerId="ADAL" clId="{F971DDE7-5A12-4941-9E72-8B4B4EB56397}" dt="2024-07-17T16:37:29.790" v="657" actId="20577"/>
          <ac:spMkLst>
            <pc:docMk/>
            <pc:sldMk cId="3746985532" sldId="2147310020"/>
            <ac:spMk id="2" creationId="{B69CE8D9-C56E-D8EE-E529-AAAE8056EDE1}"/>
          </ac:spMkLst>
        </pc:spChg>
        <pc:spChg chg="del">
          <ac:chgData name="Fernando Enrique Nuñez Zapata" userId="4887fb29-3871-42a7-b0aa-ea8d45a5c181" providerId="ADAL" clId="{F971DDE7-5A12-4941-9E72-8B4B4EB56397}" dt="2024-07-17T16:37:35.216" v="658" actId="478"/>
          <ac:spMkLst>
            <pc:docMk/>
            <pc:sldMk cId="3746985532" sldId="2147310020"/>
            <ac:spMk id="12" creationId="{A4E0BFEC-BEA5-B4C6-9F44-AA860D2324A6}"/>
          </ac:spMkLst>
        </pc:spChg>
        <pc:spChg chg="del">
          <ac:chgData name="Fernando Enrique Nuñez Zapata" userId="4887fb29-3871-42a7-b0aa-ea8d45a5c181" providerId="ADAL" clId="{F971DDE7-5A12-4941-9E72-8B4B4EB56397}" dt="2024-07-17T16:37:35.216" v="658" actId="478"/>
          <ac:spMkLst>
            <pc:docMk/>
            <pc:sldMk cId="3746985532" sldId="2147310020"/>
            <ac:spMk id="13" creationId="{69C4B69C-09BC-3FF7-71C4-7A2C86BC0338}"/>
          </ac:spMkLst>
        </pc:spChg>
        <pc:spChg chg="del">
          <ac:chgData name="Fernando Enrique Nuñez Zapata" userId="4887fb29-3871-42a7-b0aa-ea8d45a5c181" providerId="ADAL" clId="{F971DDE7-5A12-4941-9E72-8B4B4EB56397}" dt="2024-07-17T16:37:35.216" v="658" actId="478"/>
          <ac:spMkLst>
            <pc:docMk/>
            <pc:sldMk cId="3746985532" sldId="2147310020"/>
            <ac:spMk id="14" creationId="{3873D76F-4119-6C64-3A71-C82543184EED}"/>
          </ac:spMkLst>
        </pc:spChg>
        <pc:spChg chg="add mod">
          <ac:chgData name="Fernando Enrique Nuñez Zapata" userId="4887fb29-3871-42a7-b0aa-ea8d45a5c181" providerId="ADAL" clId="{F971DDE7-5A12-4941-9E72-8B4B4EB56397}" dt="2024-07-17T16:38:56.975" v="710" actId="1076"/>
          <ac:spMkLst>
            <pc:docMk/>
            <pc:sldMk cId="3746985532" sldId="2147310020"/>
            <ac:spMk id="18" creationId="{B7C6BF59-5F6A-1E9B-BBF0-2B3874A12817}"/>
          </ac:spMkLst>
        </pc:spChg>
        <pc:spChg chg="add del mod">
          <ac:chgData name="Fernando Enrique Nuñez Zapata" userId="4887fb29-3871-42a7-b0aa-ea8d45a5c181" providerId="ADAL" clId="{F971DDE7-5A12-4941-9E72-8B4B4EB56397}" dt="2024-07-17T16:45:20.670" v="799" actId="478"/>
          <ac:spMkLst>
            <pc:docMk/>
            <pc:sldMk cId="3746985532" sldId="2147310020"/>
            <ac:spMk id="23" creationId="{5DD9DB6A-FBE4-8F63-C9A1-533A0215DBE6}"/>
          </ac:spMkLst>
        </pc:spChg>
        <pc:spChg chg="del">
          <ac:chgData name="Fernando Enrique Nuñez Zapata" userId="4887fb29-3871-42a7-b0aa-ea8d45a5c181" providerId="ADAL" clId="{F971DDE7-5A12-4941-9E72-8B4B4EB56397}" dt="2024-07-17T16:37:35.216" v="658" actId="478"/>
          <ac:spMkLst>
            <pc:docMk/>
            <pc:sldMk cId="3746985532" sldId="2147310020"/>
            <ac:spMk id="39" creationId="{C19BAF0E-BC65-BBAB-AD29-2DE70F53C629}"/>
          </ac:spMkLst>
        </pc:spChg>
        <pc:spChg chg="del">
          <ac:chgData name="Fernando Enrique Nuñez Zapata" userId="4887fb29-3871-42a7-b0aa-ea8d45a5c181" providerId="ADAL" clId="{F971DDE7-5A12-4941-9E72-8B4B4EB56397}" dt="2024-07-17T16:37:35.216" v="658" actId="478"/>
          <ac:spMkLst>
            <pc:docMk/>
            <pc:sldMk cId="3746985532" sldId="2147310020"/>
            <ac:spMk id="40" creationId="{593E4765-0B21-41A6-7760-877D0FF9D99D}"/>
          </ac:spMkLst>
        </pc:spChg>
        <pc:grpChg chg="del">
          <ac:chgData name="Fernando Enrique Nuñez Zapata" userId="4887fb29-3871-42a7-b0aa-ea8d45a5c181" providerId="ADAL" clId="{F971DDE7-5A12-4941-9E72-8B4B4EB56397}" dt="2024-07-17T16:37:35.216" v="658" actId="478"/>
          <ac:grpSpMkLst>
            <pc:docMk/>
            <pc:sldMk cId="3746985532" sldId="2147310020"/>
            <ac:grpSpMk id="15" creationId="{61BDA774-B588-8949-4957-4D7CCE10703D}"/>
          </ac:grpSpMkLst>
        </pc:grpChg>
        <pc:grpChg chg="del">
          <ac:chgData name="Fernando Enrique Nuñez Zapata" userId="4887fb29-3871-42a7-b0aa-ea8d45a5c181" providerId="ADAL" clId="{F971DDE7-5A12-4941-9E72-8B4B4EB56397}" dt="2024-07-17T16:37:35.216" v="658" actId="478"/>
          <ac:grpSpMkLst>
            <pc:docMk/>
            <pc:sldMk cId="3746985532" sldId="2147310020"/>
            <ac:grpSpMk id="49" creationId="{5A59BCC0-6678-0C11-2063-E6224C58C63F}"/>
          </ac:grpSpMkLst>
        </pc:grpChg>
        <pc:grpChg chg="del">
          <ac:chgData name="Fernando Enrique Nuñez Zapata" userId="4887fb29-3871-42a7-b0aa-ea8d45a5c181" providerId="ADAL" clId="{F971DDE7-5A12-4941-9E72-8B4B4EB56397}" dt="2024-07-17T16:37:35.216" v="658" actId="478"/>
          <ac:grpSpMkLst>
            <pc:docMk/>
            <pc:sldMk cId="3746985532" sldId="2147310020"/>
            <ac:grpSpMk id="50" creationId="{C3BB5616-54CA-90BF-4598-882208F33509}"/>
          </ac:grpSpMkLst>
        </pc:grpChg>
        <pc:grpChg chg="del">
          <ac:chgData name="Fernando Enrique Nuñez Zapata" userId="4887fb29-3871-42a7-b0aa-ea8d45a5c181" providerId="ADAL" clId="{F971DDE7-5A12-4941-9E72-8B4B4EB56397}" dt="2024-07-17T16:37:35.216" v="658" actId="478"/>
          <ac:grpSpMkLst>
            <pc:docMk/>
            <pc:sldMk cId="3746985532" sldId="2147310020"/>
            <ac:grpSpMk id="51" creationId="{B80227B3-7794-2A1A-BC3F-DD4EB5248428}"/>
          </ac:grpSpMkLst>
        </pc:grpChg>
        <pc:graphicFrameChg chg="del">
          <ac:chgData name="Fernando Enrique Nuñez Zapata" userId="4887fb29-3871-42a7-b0aa-ea8d45a5c181" providerId="ADAL" clId="{F971DDE7-5A12-4941-9E72-8B4B4EB56397}" dt="2024-07-17T16:37:35.216" v="658" actId="478"/>
          <ac:graphicFrameMkLst>
            <pc:docMk/>
            <pc:sldMk cId="3746985532" sldId="2147310020"/>
            <ac:graphicFrameMk id="42" creationId="{B73691E3-1792-0FD9-445B-B773DB73A7F5}"/>
          </ac:graphicFrameMkLst>
        </pc:graphicFrameChg>
        <pc:picChg chg="add mod">
          <ac:chgData name="Fernando Enrique Nuñez Zapata" userId="4887fb29-3871-42a7-b0aa-ea8d45a5c181" providerId="ADAL" clId="{F971DDE7-5A12-4941-9E72-8B4B4EB56397}" dt="2024-07-17T16:41:00.602" v="713" actId="1076"/>
          <ac:picMkLst>
            <pc:docMk/>
            <pc:sldMk cId="3746985532" sldId="2147310020"/>
            <ac:picMk id="16" creationId="{DA2DF765-8700-D965-5C7A-44718D570399}"/>
          </ac:picMkLst>
        </pc:picChg>
        <pc:picChg chg="add mod modCrop">
          <ac:chgData name="Fernando Enrique Nuñez Zapata" userId="4887fb29-3871-42a7-b0aa-ea8d45a5c181" providerId="ADAL" clId="{F971DDE7-5A12-4941-9E72-8B4B4EB56397}" dt="2024-07-17T16:43:32.682" v="742" actId="1076"/>
          <ac:picMkLst>
            <pc:docMk/>
            <pc:sldMk cId="3746985532" sldId="2147310020"/>
            <ac:picMk id="20" creationId="{A93DC02D-C1E1-F3EE-E6FF-2BDF2F8B3B7C}"/>
          </ac:picMkLst>
        </pc:picChg>
        <pc:picChg chg="add mod modCrop">
          <ac:chgData name="Fernando Enrique Nuñez Zapata" userId="4887fb29-3871-42a7-b0aa-ea8d45a5c181" providerId="ADAL" clId="{F971DDE7-5A12-4941-9E72-8B4B4EB56397}" dt="2024-07-17T16:43:28.653" v="741" actId="1076"/>
          <ac:picMkLst>
            <pc:docMk/>
            <pc:sldMk cId="3746985532" sldId="2147310020"/>
            <ac:picMk id="22" creationId="{BFC380B7-D88B-774D-8100-40BA505EA4AF}"/>
          </ac:picMkLst>
        </pc:picChg>
      </pc:sldChg>
      <pc:sldChg chg="modSp mod">
        <pc:chgData name="Fernando Enrique Nuñez Zapata" userId="4887fb29-3871-42a7-b0aa-ea8d45a5c181" providerId="ADAL" clId="{F971DDE7-5A12-4941-9E72-8B4B4EB56397}" dt="2024-07-18T15:07:12.679" v="1168" actId="20577"/>
        <pc:sldMkLst>
          <pc:docMk/>
          <pc:sldMk cId="151272569" sldId="2147310022"/>
        </pc:sldMkLst>
        <pc:spChg chg="mod">
          <ac:chgData name="Fernando Enrique Nuñez Zapata" userId="4887fb29-3871-42a7-b0aa-ea8d45a5c181" providerId="ADAL" clId="{F971DDE7-5A12-4941-9E72-8B4B4EB56397}" dt="2024-07-17T16:15:27.637" v="469" actId="20577"/>
          <ac:spMkLst>
            <pc:docMk/>
            <pc:sldMk cId="151272569" sldId="2147310022"/>
            <ac:spMk id="52" creationId="{C8FB4903-0BB1-5810-5560-625DD68FEDC7}"/>
          </ac:spMkLst>
        </pc:spChg>
        <pc:spChg chg="mod">
          <ac:chgData name="Fernando Enrique Nuñez Zapata" userId="4887fb29-3871-42a7-b0aa-ea8d45a5c181" providerId="ADAL" clId="{F971DDE7-5A12-4941-9E72-8B4B4EB56397}" dt="2024-07-17T16:20:56.043" v="532" actId="108"/>
          <ac:spMkLst>
            <pc:docMk/>
            <pc:sldMk cId="151272569" sldId="2147310022"/>
            <ac:spMk id="80" creationId="{3B4B5569-8A96-E1A7-835A-119F6661426C}"/>
          </ac:spMkLst>
        </pc:spChg>
        <pc:graphicFrameChg chg="modGraphic">
          <ac:chgData name="Fernando Enrique Nuñez Zapata" userId="4887fb29-3871-42a7-b0aa-ea8d45a5c181" providerId="ADAL" clId="{F971DDE7-5A12-4941-9E72-8B4B4EB56397}" dt="2024-07-17T16:16:11.969" v="501" actId="20577"/>
          <ac:graphicFrameMkLst>
            <pc:docMk/>
            <pc:sldMk cId="151272569" sldId="2147310022"/>
            <ac:graphicFrameMk id="22" creationId="{0CF90B55-9125-829B-1706-2CC9981707E1}"/>
          </ac:graphicFrameMkLst>
        </pc:graphicFrameChg>
        <pc:graphicFrameChg chg="modGraphic">
          <ac:chgData name="Fernando Enrique Nuñez Zapata" userId="4887fb29-3871-42a7-b0aa-ea8d45a5c181" providerId="ADAL" clId="{F971DDE7-5A12-4941-9E72-8B4B4EB56397}" dt="2024-07-17T16:25:10.471" v="585" actId="20577"/>
          <ac:graphicFrameMkLst>
            <pc:docMk/>
            <pc:sldMk cId="151272569" sldId="2147310022"/>
            <ac:graphicFrameMk id="24" creationId="{CEB09712-9160-9EEB-727B-50729D1044B5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8T15:07:12.679" v="1168" actId="2057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modGraphic">
          <ac:chgData name="Fernando Enrique Nuñez Zapata" userId="4887fb29-3871-42a7-b0aa-ea8d45a5c181" providerId="ADAL" clId="{F971DDE7-5A12-4941-9E72-8B4B4EB56397}" dt="2024-07-17T16:23:43.082" v="568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Fernando Enrique Nuñez Zapata" userId="4887fb29-3871-42a7-b0aa-ea8d45a5c181" providerId="ADAL" clId="{F971DDE7-5A12-4941-9E72-8B4B4EB56397}" dt="2024-07-17T16:23:47.292" v="569" actId="13926"/>
          <ac:graphicFrameMkLst>
            <pc:docMk/>
            <pc:sldMk cId="151272569" sldId="2147310022"/>
            <ac:graphicFrameMk id="53" creationId="{618955C3-E208-AFCE-12BC-3E76CA8E34B1}"/>
          </ac:graphicFrameMkLst>
        </pc:graphicFrameChg>
        <pc:graphicFrameChg chg="modGraphic">
          <ac:chgData name="Fernando Enrique Nuñez Zapata" userId="4887fb29-3871-42a7-b0aa-ea8d45a5c181" providerId="ADAL" clId="{F971DDE7-5A12-4941-9E72-8B4B4EB56397}" dt="2024-07-17T16:23:37.682" v="567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graphicFrameChg chg="modGraphic">
          <ac:chgData name="Fernando Enrique Nuñez Zapata" userId="4887fb29-3871-42a7-b0aa-ea8d45a5c181" providerId="ADAL" clId="{F971DDE7-5A12-4941-9E72-8B4B4EB56397}" dt="2024-07-17T16:23:09.236" v="566" actId="20577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</pc:sldChg>
      <pc:sldChg chg="del">
        <pc:chgData name="Fernando Enrique Nuñez Zapata" userId="4887fb29-3871-42a7-b0aa-ea8d45a5c181" providerId="ADAL" clId="{F971DDE7-5A12-4941-9E72-8B4B4EB56397}" dt="2024-07-09T21:09:02.762" v="6" actId="47"/>
        <pc:sldMkLst>
          <pc:docMk/>
          <pc:sldMk cId="3772216284" sldId="2147310023"/>
        </pc:sldMkLst>
      </pc:sldChg>
      <pc:sldChg chg="addSp delSp modSp add mod">
        <pc:chgData name="Fernando Enrique Nuñez Zapata" userId="4887fb29-3871-42a7-b0aa-ea8d45a5c181" providerId="ADAL" clId="{F971DDE7-5A12-4941-9E72-8B4B4EB56397}" dt="2024-07-18T21:00:56.194" v="1210" actId="478"/>
        <pc:sldMkLst>
          <pc:docMk/>
          <pc:sldMk cId="1985056801" sldId="2147310029"/>
        </pc:sldMkLst>
        <pc:spChg chg="del mod">
          <ac:chgData name="Fernando Enrique Nuñez Zapata" userId="4887fb29-3871-42a7-b0aa-ea8d45a5c181" providerId="ADAL" clId="{F971DDE7-5A12-4941-9E72-8B4B4EB56397}" dt="2024-07-18T21:00:56.194" v="1210" actId="478"/>
          <ac:spMkLst>
            <pc:docMk/>
            <pc:sldMk cId="1985056801" sldId="2147310029"/>
            <ac:spMk id="8" creationId="{5129EA4E-E527-9532-61E7-C3FF28C3F410}"/>
          </ac:spMkLst>
        </pc:spChg>
        <pc:spChg chg="ord">
          <ac:chgData name="Fernando Enrique Nuñez Zapata" userId="4887fb29-3871-42a7-b0aa-ea8d45a5c181" providerId="ADAL" clId="{F971DDE7-5A12-4941-9E72-8B4B4EB56397}" dt="2024-07-17T17:25:21.001" v="1119" actId="167"/>
          <ac:spMkLst>
            <pc:docMk/>
            <pc:sldMk cId="1985056801" sldId="2147310029"/>
            <ac:spMk id="10" creationId="{C8BC7A37-CCA8-76A0-3A9B-038168883344}"/>
          </ac:spMkLst>
        </pc:spChg>
        <pc:graphicFrameChg chg="add mod">
          <ac:chgData name="Fernando Enrique Nuñez Zapata" userId="4887fb29-3871-42a7-b0aa-ea8d45a5c181" providerId="ADAL" clId="{F971DDE7-5A12-4941-9E72-8B4B4EB56397}" dt="2024-07-17T17:16:16.053" v="1038" actId="1076"/>
          <ac:graphicFrameMkLst>
            <pc:docMk/>
            <pc:sldMk cId="1985056801" sldId="2147310029"/>
            <ac:graphicFrameMk id="4" creationId="{4DC0704C-7EB4-4BF7-A0CF-FF0BBE31F4DD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1T16:48:51.239" v="40"/>
          <ac:graphicFrameMkLst>
            <pc:docMk/>
            <pc:sldMk cId="1985056801" sldId="2147310029"/>
            <ac:graphicFrameMk id="4" creationId="{FCEFA422-B86E-6052-31E3-1E267A86F7F7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7T17:17:13.926" v="1048" actId="1076"/>
          <ac:graphicFrameMkLst>
            <pc:docMk/>
            <pc:sldMk cId="1985056801" sldId="2147310029"/>
            <ac:graphicFrameMk id="5" creationId="{C01F56F9-A316-448A-9A4A-BD0E8DE6E225}"/>
          </ac:graphicFrameMkLst>
        </pc:graphicFrameChg>
        <pc:graphicFrameChg chg="add del mod">
          <ac:chgData name="Fernando Enrique Nuñez Zapata" userId="4887fb29-3871-42a7-b0aa-ea8d45a5c181" providerId="ADAL" clId="{F971DDE7-5A12-4941-9E72-8B4B4EB56397}" dt="2024-07-11T16:55:13.676" v="51" actId="478"/>
          <ac:graphicFrameMkLst>
            <pc:docMk/>
            <pc:sldMk cId="1985056801" sldId="2147310029"/>
            <ac:graphicFrameMk id="5" creationId="{FCEFA422-B86E-6052-31E3-1E267A86F7F7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7T17:18:53.123" v="1080" actId="1037"/>
          <ac:graphicFrameMkLst>
            <pc:docMk/>
            <pc:sldMk cId="1985056801" sldId="2147310029"/>
            <ac:graphicFrameMk id="7" creationId="{80518FF7-E91E-47DE-96AF-C763E7E0CF02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1T16:55:21.770" v="54"/>
          <ac:graphicFrameMkLst>
            <pc:docMk/>
            <pc:sldMk cId="1985056801" sldId="2147310029"/>
            <ac:graphicFrameMk id="7" creationId="{FCEFA422-B86E-6052-31E3-1E267A86F7F7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7T17:19:52.799" v="1090" actId="1076"/>
          <ac:graphicFrameMkLst>
            <pc:docMk/>
            <pc:sldMk cId="1985056801" sldId="2147310029"/>
            <ac:graphicFrameMk id="14" creationId="{77DE74BA-584F-402F-8D33-508233DC17CC}"/>
          </ac:graphicFrameMkLst>
        </pc:graphicFrameChg>
        <pc:graphicFrameChg chg="del mod">
          <ac:chgData name="Fernando Enrique Nuñez Zapata" userId="4887fb29-3871-42a7-b0aa-ea8d45a5c181" providerId="ADAL" clId="{F971DDE7-5A12-4941-9E72-8B4B4EB56397}" dt="2024-07-11T16:55:47.941" v="59" actId="478"/>
          <ac:graphicFrameMkLst>
            <pc:docMk/>
            <pc:sldMk cId="1985056801" sldId="2147310029"/>
            <ac:graphicFrameMk id="14" creationId="{FCEFA422-B86E-6052-31E3-1E267A86F7F7}"/>
          </ac:graphicFrameMkLst>
        </pc:graphicFrameChg>
        <pc:graphicFrameChg chg="mod modGraphic">
          <ac:chgData name="Fernando Enrique Nuñez Zapata" userId="4887fb29-3871-42a7-b0aa-ea8d45a5c181" providerId="ADAL" clId="{F971DDE7-5A12-4941-9E72-8B4B4EB56397}" dt="2024-07-17T17:14:50.569" v="1028" actId="14100"/>
          <ac:graphicFrameMkLst>
            <pc:docMk/>
            <pc:sldMk cId="1985056801" sldId="2147310029"/>
            <ac:graphicFrameMk id="16" creationId="{B8707EAE-9863-07CA-AA94-0008F5303C1A}"/>
          </ac:graphicFrameMkLst>
        </pc:graphicFrameChg>
        <pc:graphicFrameChg chg="mod">
          <ac:chgData name="Fernando Enrique Nuñez Zapata" userId="4887fb29-3871-42a7-b0aa-ea8d45a5c181" providerId="ADAL" clId="{F971DDE7-5A12-4941-9E72-8B4B4EB56397}" dt="2024-07-17T17:18:53.123" v="1080" actId="1037"/>
          <ac:graphicFrameMkLst>
            <pc:docMk/>
            <pc:sldMk cId="1985056801" sldId="2147310029"/>
            <ac:graphicFrameMk id="20" creationId="{1D37815E-6E06-C46C-175A-392B47B95304}"/>
          </ac:graphicFrameMkLst>
        </pc:graphicFrameChg>
        <pc:graphicFrameChg chg="add del mod">
          <ac:chgData name="Fernando Enrique Nuñez Zapata" userId="4887fb29-3871-42a7-b0aa-ea8d45a5c181" providerId="ADAL" clId="{F971DDE7-5A12-4941-9E72-8B4B4EB56397}" dt="2024-07-17T17:21:06.715" v="1103" actId="478"/>
          <ac:graphicFrameMkLst>
            <pc:docMk/>
            <pc:sldMk cId="1985056801" sldId="2147310029"/>
            <ac:graphicFrameMk id="21" creationId="{FCEFA422-B86E-6052-31E3-1E267A86F7F7}"/>
          </ac:graphicFrameMkLst>
        </pc:graphicFrameChg>
        <pc:graphicFrameChg chg="del">
          <ac:chgData name="Fernando Enrique Nuñez Zapata" userId="4887fb29-3871-42a7-b0aa-ea8d45a5c181" providerId="ADAL" clId="{F971DDE7-5A12-4941-9E72-8B4B4EB56397}" dt="2024-07-11T16:57:48.073" v="69" actId="478"/>
          <ac:graphicFrameMkLst>
            <pc:docMk/>
            <pc:sldMk cId="1985056801" sldId="2147310029"/>
            <ac:graphicFrameMk id="22" creationId="{4DC0704C-7EB4-4BF7-A0CF-FF0BBE31F4DD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7T17:25:16.010" v="1118" actId="167"/>
          <ac:graphicFrameMkLst>
            <pc:docMk/>
            <pc:sldMk cId="1985056801" sldId="2147310029"/>
            <ac:graphicFrameMk id="22" creationId="{FCEFA422-B86E-6052-31E3-1E267A86F7F7}"/>
          </ac:graphicFrameMkLst>
        </pc:graphicFrameChg>
        <pc:graphicFrameChg chg="add del mod">
          <ac:chgData name="Fernando Enrique Nuñez Zapata" userId="4887fb29-3871-42a7-b0aa-ea8d45a5c181" providerId="ADAL" clId="{F971DDE7-5A12-4941-9E72-8B4B4EB56397}" dt="2024-07-17T17:16:02.740" v="1037" actId="478"/>
          <ac:graphicFrameMkLst>
            <pc:docMk/>
            <pc:sldMk cId="1985056801" sldId="2147310029"/>
            <ac:graphicFrameMk id="23" creationId="{4DC0704C-7EB4-4BF7-A0CF-FF0BBE31F4DD}"/>
          </ac:graphicFrameMkLst>
        </pc:graphicFrameChg>
        <pc:graphicFrameChg chg="del">
          <ac:chgData name="Fernando Enrique Nuñez Zapata" userId="4887fb29-3871-42a7-b0aa-ea8d45a5c181" providerId="ADAL" clId="{F971DDE7-5A12-4941-9E72-8B4B4EB56397}" dt="2024-07-11T16:59:41.019" v="80" actId="478"/>
          <ac:graphicFrameMkLst>
            <pc:docMk/>
            <pc:sldMk cId="1985056801" sldId="2147310029"/>
            <ac:graphicFrameMk id="25" creationId="{C01F56F9-A316-448A-9A4A-BD0E8DE6E225}"/>
          </ac:graphicFrameMkLst>
        </pc:graphicFrameChg>
        <pc:graphicFrameChg chg="del">
          <ac:chgData name="Fernando Enrique Nuñez Zapata" userId="4887fb29-3871-42a7-b0aa-ea8d45a5c181" providerId="ADAL" clId="{F971DDE7-5A12-4941-9E72-8B4B4EB56397}" dt="2024-07-11T17:00:53.860" v="87" actId="478"/>
          <ac:graphicFrameMkLst>
            <pc:docMk/>
            <pc:sldMk cId="1985056801" sldId="2147310029"/>
            <ac:graphicFrameMk id="26" creationId="{80518FF7-E91E-47DE-96AF-C763E7E0CF02}"/>
          </ac:graphicFrameMkLst>
        </pc:graphicFrameChg>
        <pc:graphicFrameChg chg="del">
          <ac:chgData name="Fernando Enrique Nuñez Zapata" userId="4887fb29-3871-42a7-b0aa-ea8d45a5c181" providerId="ADAL" clId="{F971DDE7-5A12-4941-9E72-8B4B4EB56397}" dt="2024-07-11T17:02:27.548" v="100" actId="478"/>
          <ac:graphicFrameMkLst>
            <pc:docMk/>
            <pc:sldMk cId="1985056801" sldId="2147310029"/>
            <ac:graphicFrameMk id="27" creationId="{77DE74BA-584F-402F-8D33-508233DC17CC}"/>
          </ac:graphicFrameMkLst>
        </pc:graphicFrameChg>
        <pc:graphicFrameChg chg="add del mod">
          <ac:chgData name="Fernando Enrique Nuñez Zapata" userId="4887fb29-3871-42a7-b0aa-ea8d45a5c181" providerId="ADAL" clId="{F971DDE7-5A12-4941-9E72-8B4B4EB56397}" dt="2024-07-17T17:17:01.740" v="1047" actId="478"/>
          <ac:graphicFrameMkLst>
            <pc:docMk/>
            <pc:sldMk cId="1985056801" sldId="2147310029"/>
            <ac:graphicFrameMk id="32" creationId="{C01F56F9-A316-448A-9A4A-BD0E8DE6E225}"/>
          </ac:graphicFrameMkLst>
        </pc:graphicFrameChg>
        <pc:graphicFrameChg chg="add del mod">
          <ac:chgData name="Fernando Enrique Nuñez Zapata" userId="4887fb29-3871-42a7-b0aa-ea8d45a5c181" providerId="ADAL" clId="{F971DDE7-5A12-4941-9E72-8B4B4EB56397}" dt="2024-07-17T17:17:57.123" v="1057" actId="478"/>
          <ac:graphicFrameMkLst>
            <pc:docMk/>
            <pc:sldMk cId="1985056801" sldId="2147310029"/>
            <ac:graphicFrameMk id="33" creationId="{80518FF7-E91E-47DE-96AF-C763E7E0CF02}"/>
          </ac:graphicFrameMkLst>
        </pc:graphicFrameChg>
        <pc:graphicFrameChg chg="add del mod">
          <ac:chgData name="Fernando Enrique Nuñez Zapata" userId="4887fb29-3871-42a7-b0aa-ea8d45a5c181" providerId="ADAL" clId="{F971DDE7-5A12-4941-9E72-8B4B4EB56397}" dt="2024-07-17T17:19:30.316" v="1087" actId="478"/>
          <ac:graphicFrameMkLst>
            <pc:docMk/>
            <pc:sldMk cId="1985056801" sldId="2147310029"/>
            <ac:graphicFrameMk id="34" creationId="{77DE74BA-584F-402F-8D33-508233DC17CC}"/>
          </ac:graphicFrameMkLst>
        </pc:graphicFrameChg>
      </pc:sldChg>
      <pc:sldChg chg="add del">
        <pc:chgData name="Fernando Enrique Nuñez Zapata" userId="4887fb29-3871-42a7-b0aa-ea8d45a5c181" providerId="ADAL" clId="{F971DDE7-5A12-4941-9E72-8B4B4EB56397}" dt="2024-07-11T17:05:33.178" v="106" actId="47"/>
        <pc:sldMkLst>
          <pc:docMk/>
          <pc:sldMk cId="792962565" sldId="2147310030"/>
        </pc:sldMkLst>
      </pc:sldChg>
      <pc:sldChg chg="addSp delSp modSp add mod">
        <pc:chgData name="Fernando Enrique Nuñez Zapata" userId="4887fb29-3871-42a7-b0aa-ea8d45a5c181" providerId="ADAL" clId="{F971DDE7-5A12-4941-9E72-8B4B4EB56397}" dt="2024-07-17T16:35:22.475" v="619"/>
        <pc:sldMkLst>
          <pc:docMk/>
          <pc:sldMk cId="1647420427" sldId="2147310030"/>
        </pc:sldMkLst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3" creationId="{F7604BD2-6F6E-AB13-72B2-49C43AE87223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4" creationId="{04E43BBB-EA3E-3DDB-703F-BAA56C74AD1D}"/>
          </ac:spMkLst>
        </pc:spChg>
        <pc:spChg chg="del">
          <ac:chgData name="Fernando Enrique Nuñez Zapata" userId="4887fb29-3871-42a7-b0aa-ea8d45a5c181" providerId="ADAL" clId="{F971DDE7-5A12-4941-9E72-8B4B4EB56397}" dt="2024-07-17T16:34:34.285" v="614" actId="478"/>
          <ac:spMkLst>
            <pc:docMk/>
            <pc:sldMk cId="1647420427" sldId="2147310030"/>
            <ac:spMk id="5" creationId="{AEB2268A-FF5D-AB3A-5EC5-E400010B3A38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6" creationId="{657908EC-AD3D-5E1A-E39D-D4D11E952763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7" creationId="{82F30E2E-4977-1265-1A3D-D94DC686357F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9" creationId="{4ED63805-5BE0-FEAD-D302-14D9EB1A0EAE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10" creationId="{1F8C62CE-5585-2AAC-99BF-93AB8D7080A4}"/>
          </ac:spMkLst>
        </pc:spChg>
        <pc:spChg chg="mod">
          <ac:chgData name="Fernando Enrique Nuñez Zapata" userId="4887fb29-3871-42a7-b0aa-ea8d45a5c181" providerId="ADAL" clId="{F971DDE7-5A12-4941-9E72-8B4B4EB56397}" dt="2024-07-17T16:34:26.864" v="613" actId="20577"/>
          <ac:spMkLst>
            <pc:docMk/>
            <pc:sldMk cId="1647420427" sldId="2147310030"/>
            <ac:spMk id="11" creationId="{0FA3F142-40A5-149A-EFA0-D68F2A7B17C4}"/>
          </ac:spMkLst>
        </pc:spChg>
        <pc:spChg chg="del">
          <ac:chgData name="Fernando Enrique Nuñez Zapata" userId="4887fb29-3871-42a7-b0aa-ea8d45a5c181" providerId="ADAL" clId="{F971DDE7-5A12-4941-9E72-8B4B4EB56397}" dt="2024-07-17T16:34:54.798" v="615" actId="478"/>
          <ac:spMkLst>
            <pc:docMk/>
            <pc:sldMk cId="1647420427" sldId="2147310030"/>
            <ac:spMk id="12" creationId="{956CA75A-A793-4117-D61C-FD6F0C9400E9}"/>
          </ac:spMkLst>
        </pc:spChg>
        <pc:spChg chg="del">
          <ac:chgData name="Fernando Enrique Nuñez Zapata" userId="4887fb29-3871-42a7-b0aa-ea8d45a5c181" providerId="ADAL" clId="{F971DDE7-5A12-4941-9E72-8B4B4EB56397}" dt="2024-07-17T16:34:54.798" v="615" actId="478"/>
          <ac:spMkLst>
            <pc:docMk/>
            <pc:sldMk cId="1647420427" sldId="2147310030"/>
            <ac:spMk id="14" creationId="{AFB61B9C-09BF-1470-DD96-E4780C1E17FA}"/>
          </ac:spMkLst>
        </pc:spChg>
        <pc:spChg chg="del">
          <ac:chgData name="Fernando Enrique Nuñez Zapata" userId="4887fb29-3871-42a7-b0aa-ea8d45a5c181" providerId="ADAL" clId="{F971DDE7-5A12-4941-9E72-8B4B4EB56397}" dt="2024-07-17T16:34:54.798" v="615" actId="478"/>
          <ac:spMkLst>
            <pc:docMk/>
            <pc:sldMk cId="1647420427" sldId="2147310030"/>
            <ac:spMk id="15" creationId="{5B4BB437-F9AF-F55B-3176-8018EA7C9534}"/>
          </ac:spMkLst>
        </pc:spChg>
        <pc:spChg chg="del">
          <ac:chgData name="Fernando Enrique Nuñez Zapata" userId="4887fb29-3871-42a7-b0aa-ea8d45a5c181" providerId="ADAL" clId="{F971DDE7-5A12-4941-9E72-8B4B4EB56397}" dt="2024-07-17T16:34:54.798" v="615" actId="478"/>
          <ac:spMkLst>
            <pc:docMk/>
            <pc:sldMk cId="1647420427" sldId="2147310030"/>
            <ac:spMk id="16" creationId="{178D9C94-49E7-5487-BF04-FA8087FB8AAA}"/>
          </ac:spMkLst>
        </pc:spChg>
        <pc:spChg chg="del">
          <ac:chgData name="Fernando Enrique Nuñez Zapata" userId="4887fb29-3871-42a7-b0aa-ea8d45a5c181" providerId="ADAL" clId="{F971DDE7-5A12-4941-9E72-8B4B4EB56397}" dt="2024-07-17T16:34:54.798" v="615" actId="478"/>
          <ac:spMkLst>
            <pc:docMk/>
            <pc:sldMk cId="1647420427" sldId="2147310030"/>
            <ac:spMk id="17" creationId="{EE5BAF0D-D7BA-5C19-F0BD-22F678954562}"/>
          </ac:spMkLst>
        </pc:spChg>
        <pc:spChg chg="del">
          <ac:chgData name="Fernando Enrique Nuñez Zapata" userId="4887fb29-3871-42a7-b0aa-ea8d45a5c181" providerId="ADAL" clId="{F971DDE7-5A12-4941-9E72-8B4B4EB56397}" dt="2024-07-17T16:34:54.798" v="615" actId="478"/>
          <ac:spMkLst>
            <pc:docMk/>
            <pc:sldMk cId="1647420427" sldId="2147310030"/>
            <ac:spMk id="18" creationId="{615BE560-1241-148B-19F5-641757C8A875}"/>
          </ac:spMkLst>
        </pc:spChg>
        <pc:spChg chg="del">
          <ac:chgData name="Fernando Enrique Nuñez Zapata" userId="4887fb29-3871-42a7-b0aa-ea8d45a5c181" providerId="ADAL" clId="{F971DDE7-5A12-4941-9E72-8B4B4EB56397}" dt="2024-07-17T16:34:54.798" v="615" actId="478"/>
          <ac:spMkLst>
            <pc:docMk/>
            <pc:sldMk cId="1647420427" sldId="2147310030"/>
            <ac:spMk id="19" creationId="{D3B4808C-38CD-12B9-6E56-C3185D901CE7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20" creationId="{AC6B803E-94E0-35E0-B51B-07C00C789ADB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21" creationId="{20AD9757-39DA-3B1C-AD63-40330654CD06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23" creationId="{DA8DED9F-196D-2B97-7FC0-B8775D127742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26" creationId="{5382A627-FC6C-DA7C-9A6A-08AE68626876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27" creationId="{58E23F92-9A62-D3A4-1FE2-3529B6DB7DBD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28" creationId="{EA449AF5-028F-F2DA-6746-EA3415C9FB3E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29" creationId="{0DA9DC56-81B7-4999-CB65-AFB91031845A}"/>
          </ac:spMkLst>
        </pc:spChg>
        <pc:spChg chg="del">
          <ac:chgData name="Fernando Enrique Nuñez Zapata" userId="4887fb29-3871-42a7-b0aa-ea8d45a5c181" providerId="ADAL" clId="{F971DDE7-5A12-4941-9E72-8B4B4EB56397}" dt="2024-07-17T16:35:02.907" v="617" actId="478"/>
          <ac:spMkLst>
            <pc:docMk/>
            <pc:sldMk cId="1647420427" sldId="2147310030"/>
            <ac:spMk id="30" creationId="{464DA85C-B417-70D8-A89B-2B69AB01AAF1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32" creationId="{0296C302-F986-62B2-72EA-2EB474BAC8F5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33" creationId="{DBC8C7D9-1331-C33C-452A-543FAA27485D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34" creationId="{5D64EDD3-DA3E-0254-7640-B779FAC82D4F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35" creationId="{124764C6-C329-965C-1033-83CED92CFADE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36" creationId="{BE73AE51-F8A6-C34D-6BD7-39428F98E844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37" creationId="{732D04AF-C35B-2F00-44DA-1597B5010FCD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38" creationId="{BCE0896B-DCE0-1AA2-7CC2-756B89978DA2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39" creationId="{4326DFB4-1C2F-55CB-A45A-EF368288C155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1" creationId="{B59DBD06-DA5A-0129-1E99-70A63829392C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2" creationId="{7EF17458-CD8C-7F3E-B722-50DA2C77E8CE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3" creationId="{F3389B87-6A6D-6A00-BA11-9A38CC117F40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4" creationId="{B3FAB4B2-DC3A-957C-B9EC-497B16D5665A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5" creationId="{D385ED2D-FEFA-9206-32A4-24F16AFE81EC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6" creationId="{EAFE978A-9D2A-2788-48A7-7DA0575B4554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7" creationId="{444321C7-DE3E-7DBE-858D-07562264A104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8" creationId="{66173C86-E9F9-0771-CA7C-8620D082676E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49" creationId="{6BCB1A4F-8FE9-1484-8BDA-8A045FDE84E3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0" creationId="{4BDBF82C-4953-74D1-A5A0-B4FEF25B1871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1" creationId="{7F678E7F-ED25-F139-E4CC-1209E7BD46A9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2" creationId="{DFFD12C1-0A04-BC69-023D-8098CB72D964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3" creationId="{BDFDEC2D-F067-FBC0-3A75-B52FBAE3E324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4" creationId="{7EAB777C-D604-75FB-3783-52F50E254F3C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5" creationId="{0F78C229-C02A-1997-13C7-2A2C4E4243E4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6" creationId="{D3CAC31B-2869-BBC7-4FFC-DD7D865F034D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7" creationId="{812BECBB-7F83-D8C9-ADDD-51C056A994CA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8" creationId="{420A0CBF-10A0-1977-6DE8-50516E53B5F3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59" creationId="{AB983EA0-6D37-2A61-31EB-DC0073A7A595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60" creationId="{E6BD53D9-8B48-A60F-D050-4AFCC80A90CF}"/>
          </ac:spMkLst>
        </pc:spChg>
        <pc:spChg chg="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61" creationId="{52F967CC-3D03-FDD2-AF56-DA698C747AEC}"/>
          </ac:spMkLst>
        </pc:spChg>
        <pc:spChg chg="add mod">
          <ac:chgData name="Fernando Enrique Nuñez Zapata" userId="4887fb29-3871-42a7-b0aa-ea8d45a5c181" providerId="ADAL" clId="{F971DDE7-5A12-4941-9E72-8B4B4EB56397}" dt="2024-07-17T16:35:11.160" v="618"/>
          <ac:spMkLst>
            <pc:docMk/>
            <pc:sldMk cId="1647420427" sldId="2147310030"/>
            <ac:spMk id="62" creationId="{CB606578-76A4-2E74-C6FE-156C769BE68F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66" creationId="{41E85DD3-C2EA-0106-0E1A-869BB67FF54C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67" creationId="{CC799C61-26F0-ECDD-D9BB-F64BBD9FB520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68" creationId="{C9642258-63A9-523C-C057-33D3272C3729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69" creationId="{7EF92EA2-C126-9DF8-99E6-2F8B30B1DD1E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0" creationId="{3F614D2D-873B-AF59-A802-2BB0EBB9E7D1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1" creationId="{777BF452-B0FB-E3FE-B8DA-E7E39EA47448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2" creationId="{A7C93EFF-E46F-26B3-1ECE-338A44654914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3" creationId="{87D00278-4209-85E7-3714-53383BCDC992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5" creationId="{8A458E38-F299-8062-1B9A-25CE2856E87C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6" creationId="{55C1C583-6010-A9B7-04CE-E1312637BEE3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7" creationId="{60E496B9-4F6B-9884-912E-68F6396CD678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8" creationId="{064FC772-FDA4-0E3B-69BE-4EEBBB777357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79" creationId="{6C1723AF-3EF4-54FD-22A3-A60B09990C5B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0" creationId="{D80AE2E3-4087-AAE7-5A04-8C110F66D641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1" creationId="{A33181A4-3C56-1EA0-A614-B076D5314A03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2" creationId="{A1DAC0AD-72BF-44EE-7962-4F8026D9FA51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3" creationId="{85C23187-CC6F-C065-AA15-F85262FE85E6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4" creationId="{3D4D7BCC-2712-A4C5-BA47-2864264F9EA1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5" creationId="{26EAC875-600A-A1CB-185C-F1AF00E1A6AB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6" creationId="{E3C22BCD-7083-F6CB-C1AE-04EC2086DF2C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7" creationId="{62D69DED-C0E0-E158-EB66-1F341B0C776E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8" creationId="{628CD76F-7F2A-71EC-FE6C-C9244BB845DC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89" creationId="{8FF89ECB-B53E-E3AE-89FB-454FDEF8B960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90" creationId="{89EBDC38-3C18-BF5B-7426-EE965C106F89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91" creationId="{8C5F37DC-4F6F-3598-812B-89BA163A920D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92" creationId="{58BDB6CB-6C88-3523-92E7-59938E4F6A73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93" creationId="{2F0AE80F-4A8B-E92C-0313-8EB84117404A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94" creationId="{757272EB-DD9C-6875-13A1-464DBA8D11B9}"/>
          </ac:spMkLst>
        </pc:spChg>
        <pc:spChg chg="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95" creationId="{224C183F-EEED-0747-4FB9-B9905869B5DE}"/>
          </ac:spMkLst>
        </pc:spChg>
        <pc:spChg chg="add mod">
          <ac:chgData name="Fernando Enrique Nuñez Zapata" userId="4887fb29-3871-42a7-b0aa-ea8d45a5c181" providerId="ADAL" clId="{F971DDE7-5A12-4941-9E72-8B4B4EB56397}" dt="2024-07-17T16:35:22.475" v="619"/>
          <ac:spMkLst>
            <pc:docMk/>
            <pc:sldMk cId="1647420427" sldId="2147310030"/>
            <ac:spMk id="96" creationId="{E82D3E33-0B26-C9AC-9633-99157CD6B410}"/>
          </ac:spMkLst>
        </pc:spChg>
        <pc:grpChg chg="add mod">
          <ac:chgData name="Fernando Enrique Nuñez Zapata" userId="4887fb29-3871-42a7-b0aa-ea8d45a5c181" providerId="ADAL" clId="{F971DDE7-5A12-4941-9E72-8B4B4EB56397}" dt="2024-07-17T16:35:11.160" v="618"/>
          <ac:grpSpMkLst>
            <pc:docMk/>
            <pc:sldMk cId="1647420427" sldId="2147310030"/>
            <ac:grpSpMk id="25" creationId="{2CDE0CC0-0D5E-6AB0-234F-23479197D5D3}"/>
          </ac:grpSpMkLst>
        </pc:grpChg>
        <pc:grpChg chg="mod">
          <ac:chgData name="Fernando Enrique Nuñez Zapata" userId="4887fb29-3871-42a7-b0aa-ea8d45a5c181" providerId="ADAL" clId="{F971DDE7-5A12-4941-9E72-8B4B4EB56397}" dt="2024-07-17T16:35:11.160" v="618"/>
          <ac:grpSpMkLst>
            <pc:docMk/>
            <pc:sldMk cId="1647420427" sldId="2147310030"/>
            <ac:grpSpMk id="31" creationId="{89312B90-17E6-C7B2-AC8E-C0CCC31BB9F4}"/>
          </ac:grpSpMkLst>
        </pc:grpChg>
        <pc:grpChg chg="add mod">
          <ac:chgData name="Fernando Enrique Nuñez Zapata" userId="4887fb29-3871-42a7-b0aa-ea8d45a5c181" providerId="ADAL" clId="{F971DDE7-5A12-4941-9E72-8B4B4EB56397}" dt="2024-07-17T16:35:22.475" v="619"/>
          <ac:grpSpMkLst>
            <pc:docMk/>
            <pc:sldMk cId="1647420427" sldId="2147310030"/>
            <ac:grpSpMk id="64" creationId="{13BA198A-49D3-4CC2-F35B-C4B7EA3C1C4D}"/>
          </ac:grpSpMkLst>
        </pc:grpChg>
        <pc:grpChg chg="mod">
          <ac:chgData name="Fernando Enrique Nuñez Zapata" userId="4887fb29-3871-42a7-b0aa-ea8d45a5c181" providerId="ADAL" clId="{F971DDE7-5A12-4941-9E72-8B4B4EB56397}" dt="2024-07-17T16:35:22.475" v="619"/>
          <ac:grpSpMkLst>
            <pc:docMk/>
            <pc:sldMk cId="1647420427" sldId="2147310030"/>
            <ac:grpSpMk id="65" creationId="{16095A0A-67D5-59F6-1D6D-1A8E660D7F26}"/>
          </ac:grpSpMkLst>
        </pc:grpChg>
        <pc:graphicFrameChg chg="del">
          <ac:chgData name="Fernando Enrique Nuñez Zapata" userId="4887fb29-3871-42a7-b0aa-ea8d45a5c181" providerId="ADAL" clId="{F971DDE7-5A12-4941-9E72-8B4B4EB56397}" dt="2024-07-17T16:34:59.040" v="616" actId="478"/>
          <ac:graphicFrameMkLst>
            <pc:docMk/>
            <pc:sldMk cId="1647420427" sldId="2147310030"/>
            <ac:graphicFrameMk id="13" creationId="{BC0710D6-135E-EDE0-0A2D-C2D70100BF45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7T16:35:11.160" v="618"/>
          <ac:graphicFrameMkLst>
            <pc:docMk/>
            <pc:sldMk cId="1647420427" sldId="2147310030"/>
            <ac:graphicFrameMk id="22" creationId="{8387D7C8-2C05-AA61-6B59-5BC6FB592C38}"/>
          </ac:graphicFrameMkLst>
        </pc:graphicFrameChg>
        <pc:graphicFrameChg chg="add mod">
          <ac:chgData name="Fernando Enrique Nuñez Zapata" userId="4887fb29-3871-42a7-b0aa-ea8d45a5c181" providerId="ADAL" clId="{F971DDE7-5A12-4941-9E72-8B4B4EB56397}" dt="2024-07-17T16:35:22.475" v="619"/>
          <ac:graphicFrameMkLst>
            <pc:docMk/>
            <pc:sldMk cId="1647420427" sldId="2147310030"/>
            <ac:graphicFrameMk id="63" creationId="{E2372B47-3E77-9D08-DD84-57DDABEFA952}"/>
          </ac:graphicFrameMkLst>
        </pc:graphicFrameChg>
        <pc:cxnChg chg="mod">
          <ac:chgData name="Fernando Enrique Nuñez Zapata" userId="4887fb29-3871-42a7-b0aa-ea8d45a5c181" providerId="ADAL" clId="{F971DDE7-5A12-4941-9E72-8B4B4EB56397}" dt="2024-07-17T16:35:11.160" v="618"/>
          <ac:cxnSpMkLst>
            <pc:docMk/>
            <pc:sldMk cId="1647420427" sldId="2147310030"/>
            <ac:cxnSpMk id="40" creationId="{0CBD3376-DB8E-DF5E-A20A-1B2C8E816C04}"/>
          </ac:cxnSpMkLst>
        </pc:cxnChg>
        <pc:cxnChg chg="mod">
          <ac:chgData name="Fernando Enrique Nuñez Zapata" userId="4887fb29-3871-42a7-b0aa-ea8d45a5c181" providerId="ADAL" clId="{F971DDE7-5A12-4941-9E72-8B4B4EB56397}" dt="2024-07-17T16:35:22.475" v="619"/>
          <ac:cxnSpMkLst>
            <pc:docMk/>
            <pc:sldMk cId="1647420427" sldId="2147310030"/>
            <ac:cxnSpMk id="74" creationId="{9DBBDF8E-5781-E580-3F54-DDAD15193511}"/>
          </ac:cxnSpMkLst>
        </pc:cxnChg>
      </pc:sldChg>
      <pc:sldChg chg="addSp delSp modSp add mod">
        <pc:chgData name="Fernando Enrique Nuñez Zapata" userId="4887fb29-3871-42a7-b0aa-ea8d45a5c181" providerId="ADAL" clId="{F971DDE7-5A12-4941-9E72-8B4B4EB56397}" dt="2024-07-17T16:35:50.730" v="623"/>
        <pc:sldMkLst>
          <pc:docMk/>
          <pc:sldMk cId="2573264900" sldId="2147310031"/>
        </pc:sldMkLst>
        <pc:spChg chg="add mod">
          <ac:chgData name="Fernando Enrique Nuñez Zapata" userId="4887fb29-3871-42a7-b0aa-ea8d45a5c181" providerId="ADAL" clId="{F971DDE7-5A12-4941-9E72-8B4B4EB56397}" dt="2024-07-17T16:35:50.730" v="623"/>
          <ac:spMkLst>
            <pc:docMk/>
            <pc:sldMk cId="2573264900" sldId="2147310031"/>
            <ac:spMk id="5" creationId="{08B743E9-AF97-B75D-18CC-1634ADE8D8D9}"/>
          </ac:spMkLst>
        </pc:spChg>
        <pc:spChg chg="add mod">
          <ac:chgData name="Fernando Enrique Nuñez Zapata" userId="4887fb29-3871-42a7-b0aa-ea8d45a5c181" providerId="ADAL" clId="{F971DDE7-5A12-4941-9E72-8B4B4EB56397}" dt="2024-07-17T16:35:50.730" v="623"/>
          <ac:spMkLst>
            <pc:docMk/>
            <pc:sldMk cId="2573264900" sldId="2147310031"/>
            <ac:spMk id="6" creationId="{1F4C5ED9-2968-D4F5-6A55-765FBAA478BC}"/>
          </ac:spMkLst>
        </pc:spChg>
        <pc:spChg chg="mod">
          <ac:chgData name="Fernando Enrique Nuñez Zapata" userId="4887fb29-3871-42a7-b0aa-ea8d45a5c181" providerId="ADAL" clId="{F971DDE7-5A12-4941-9E72-8B4B4EB56397}" dt="2024-07-17T16:35:37.252" v="621"/>
          <ac:spMkLst>
            <pc:docMk/>
            <pc:sldMk cId="2573264900" sldId="2147310031"/>
            <ac:spMk id="11" creationId="{0FA3F142-40A5-149A-EFA0-D68F2A7B17C4}"/>
          </ac:spMkLst>
        </pc:spChg>
        <pc:spChg chg="del">
          <ac:chgData name="Fernando Enrique Nuñez Zapata" userId="4887fb29-3871-42a7-b0aa-ea8d45a5c181" providerId="ADAL" clId="{F971DDE7-5A12-4941-9E72-8B4B4EB56397}" dt="2024-07-17T16:35:47.637" v="622" actId="478"/>
          <ac:spMkLst>
            <pc:docMk/>
            <pc:sldMk cId="2573264900" sldId="2147310031"/>
            <ac:spMk id="96" creationId="{E82D3E33-0B26-C9AC-9633-99157CD6B410}"/>
          </ac:spMkLst>
        </pc:spChg>
        <pc:grpChg chg="del">
          <ac:chgData name="Fernando Enrique Nuñez Zapata" userId="4887fb29-3871-42a7-b0aa-ea8d45a5c181" providerId="ADAL" clId="{F971DDE7-5A12-4941-9E72-8B4B4EB56397}" dt="2024-07-17T16:35:47.637" v="622" actId="478"/>
          <ac:grpSpMkLst>
            <pc:docMk/>
            <pc:sldMk cId="2573264900" sldId="2147310031"/>
            <ac:grpSpMk id="64" creationId="{13BA198A-49D3-4CC2-F35B-C4B7EA3C1C4D}"/>
          </ac:grpSpMkLst>
        </pc:grpChg>
        <pc:graphicFrameChg chg="del">
          <ac:chgData name="Fernando Enrique Nuñez Zapata" userId="4887fb29-3871-42a7-b0aa-ea8d45a5c181" providerId="ADAL" clId="{F971DDE7-5A12-4941-9E72-8B4B4EB56397}" dt="2024-07-17T16:35:47.637" v="622" actId="478"/>
          <ac:graphicFrameMkLst>
            <pc:docMk/>
            <pc:sldMk cId="2573264900" sldId="2147310031"/>
            <ac:graphicFrameMk id="63" creationId="{E2372B47-3E77-9D08-DD84-57DDABEFA952}"/>
          </ac:graphicFrameMkLst>
        </pc:graphicFrameChg>
        <pc:picChg chg="add mod">
          <ac:chgData name="Fernando Enrique Nuñez Zapata" userId="4887fb29-3871-42a7-b0aa-ea8d45a5c181" providerId="ADAL" clId="{F971DDE7-5A12-4941-9E72-8B4B4EB56397}" dt="2024-07-17T16:35:50.730" v="623"/>
          <ac:picMkLst>
            <pc:docMk/>
            <pc:sldMk cId="2573264900" sldId="2147310031"/>
            <ac:picMk id="3" creationId="{270D53D9-8EE2-B041-D4BA-9BFC3BF070F0}"/>
          </ac:picMkLst>
        </pc:picChg>
        <pc:picChg chg="add mod">
          <ac:chgData name="Fernando Enrique Nuñez Zapata" userId="4887fb29-3871-42a7-b0aa-ea8d45a5c181" providerId="ADAL" clId="{F971DDE7-5A12-4941-9E72-8B4B4EB56397}" dt="2024-07-17T16:35:50.730" v="623"/>
          <ac:picMkLst>
            <pc:docMk/>
            <pc:sldMk cId="2573264900" sldId="2147310031"/>
            <ac:picMk id="4" creationId="{4B18F330-2510-C3E5-2E01-C0D28D6B60C9}"/>
          </ac:picMkLst>
        </pc:picChg>
      </pc:sldChg>
      <pc:sldChg chg="addSp delSp modSp add mod">
        <pc:chgData name="Fernando Enrique Nuñez Zapata" userId="4887fb29-3871-42a7-b0aa-ea8d45a5c181" providerId="ADAL" clId="{F971DDE7-5A12-4941-9E72-8B4B4EB56397}" dt="2024-07-17T16:36:23.957" v="628" actId="1076"/>
        <pc:sldMkLst>
          <pc:docMk/>
          <pc:sldMk cId="2307649156" sldId="2147310032"/>
        </pc:sldMkLst>
        <pc:spChg chg="del">
          <ac:chgData name="Fernando Enrique Nuñez Zapata" userId="4887fb29-3871-42a7-b0aa-ea8d45a5c181" providerId="ADAL" clId="{F971DDE7-5A12-4941-9E72-8B4B4EB56397}" dt="2024-07-17T16:36:17.466" v="626" actId="478"/>
          <ac:spMkLst>
            <pc:docMk/>
            <pc:sldMk cId="2307649156" sldId="2147310032"/>
            <ac:spMk id="5" creationId="{08B743E9-AF97-B75D-18CC-1634ADE8D8D9}"/>
          </ac:spMkLst>
        </pc:spChg>
        <pc:spChg chg="del">
          <ac:chgData name="Fernando Enrique Nuñez Zapata" userId="4887fb29-3871-42a7-b0aa-ea8d45a5c181" providerId="ADAL" clId="{F971DDE7-5A12-4941-9E72-8B4B4EB56397}" dt="2024-07-17T16:36:17.466" v="626" actId="478"/>
          <ac:spMkLst>
            <pc:docMk/>
            <pc:sldMk cId="2307649156" sldId="2147310032"/>
            <ac:spMk id="6" creationId="{1F4C5ED9-2968-D4F5-6A55-765FBAA478BC}"/>
          </ac:spMkLst>
        </pc:spChg>
        <pc:spChg chg="add mod">
          <ac:chgData name="Fernando Enrique Nuñez Zapata" userId="4887fb29-3871-42a7-b0aa-ea8d45a5c181" providerId="ADAL" clId="{F971DDE7-5A12-4941-9E72-8B4B4EB56397}" dt="2024-07-17T16:36:23.957" v="628" actId="1076"/>
          <ac:spMkLst>
            <pc:docMk/>
            <pc:sldMk cId="2307649156" sldId="2147310032"/>
            <ac:spMk id="10" creationId="{B5AB768D-EF5F-C6BB-F07D-D6AC3FFAF4B5}"/>
          </ac:spMkLst>
        </pc:spChg>
        <pc:spChg chg="mod">
          <ac:chgData name="Fernando Enrique Nuñez Zapata" userId="4887fb29-3871-42a7-b0aa-ea8d45a5c181" providerId="ADAL" clId="{F971DDE7-5A12-4941-9E72-8B4B4EB56397}" dt="2024-07-17T16:36:06.283" v="625"/>
          <ac:spMkLst>
            <pc:docMk/>
            <pc:sldMk cId="2307649156" sldId="2147310032"/>
            <ac:spMk id="11" creationId="{0FA3F142-40A5-149A-EFA0-D68F2A7B17C4}"/>
          </ac:spMkLst>
        </pc:spChg>
        <pc:picChg chg="del">
          <ac:chgData name="Fernando Enrique Nuñez Zapata" userId="4887fb29-3871-42a7-b0aa-ea8d45a5c181" providerId="ADAL" clId="{F971DDE7-5A12-4941-9E72-8B4B4EB56397}" dt="2024-07-17T16:36:17.466" v="626" actId="478"/>
          <ac:picMkLst>
            <pc:docMk/>
            <pc:sldMk cId="2307649156" sldId="2147310032"/>
            <ac:picMk id="3" creationId="{270D53D9-8EE2-B041-D4BA-9BFC3BF070F0}"/>
          </ac:picMkLst>
        </pc:picChg>
        <pc:picChg chg="del">
          <ac:chgData name="Fernando Enrique Nuñez Zapata" userId="4887fb29-3871-42a7-b0aa-ea8d45a5c181" providerId="ADAL" clId="{F971DDE7-5A12-4941-9E72-8B4B4EB56397}" dt="2024-07-17T16:36:17.466" v="626" actId="478"/>
          <ac:picMkLst>
            <pc:docMk/>
            <pc:sldMk cId="2307649156" sldId="2147310032"/>
            <ac:picMk id="4" creationId="{4B18F330-2510-C3E5-2E01-C0D28D6B60C9}"/>
          </ac:picMkLst>
        </pc:picChg>
        <pc:picChg chg="add mod">
          <ac:chgData name="Fernando Enrique Nuñez Zapata" userId="4887fb29-3871-42a7-b0aa-ea8d45a5c181" providerId="ADAL" clId="{F971DDE7-5A12-4941-9E72-8B4B4EB56397}" dt="2024-07-17T16:36:23.957" v="628" actId="1076"/>
          <ac:picMkLst>
            <pc:docMk/>
            <pc:sldMk cId="2307649156" sldId="2147310032"/>
            <ac:picMk id="7" creationId="{158DE230-8AAE-20E5-CD19-E679482316A6}"/>
          </ac:picMkLst>
        </pc:picChg>
        <pc:picChg chg="add mod">
          <ac:chgData name="Fernando Enrique Nuñez Zapata" userId="4887fb29-3871-42a7-b0aa-ea8d45a5c181" providerId="ADAL" clId="{F971DDE7-5A12-4941-9E72-8B4B4EB56397}" dt="2024-07-17T16:36:23.957" v="628" actId="1076"/>
          <ac:picMkLst>
            <pc:docMk/>
            <pc:sldMk cId="2307649156" sldId="2147310032"/>
            <ac:picMk id="9" creationId="{F761B345-4CEE-6354-AE6D-A108D185A653}"/>
          </ac:picMkLst>
        </pc:picChg>
      </pc:sldChg>
      <pc:sldChg chg="add del">
        <pc:chgData name="Fernando Enrique Nuñez Zapata" userId="4887fb29-3871-42a7-b0aa-ea8d45a5c181" providerId="ADAL" clId="{F971DDE7-5A12-4941-9E72-8B4B4EB56397}" dt="2024-07-18T15:56:41.177" v="1209"/>
        <pc:sldMkLst>
          <pc:docMk/>
          <pc:sldMk cId="3233114531" sldId="2147310033"/>
        </pc:sldMkLst>
      </pc:sldChg>
      <pc:sldMasterChg chg="delSldLayout">
        <pc:chgData name="Fernando Enrique Nuñez Zapata" userId="4887fb29-3871-42a7-b0aa-ea8d45a5c181" providerId="ADAL" clId="{F971DDE7-5A12-4941-9E72-8B4B4EB56397}" dt="2024-07-18T15:56:33.757" v="1208" actId="47"/>
        <pc:sldMasterMkLst>
          <pc:docMk/>
          <pc:sldMasterMk cId="2979512286" sldId="2147483668"/>
        </pc:sldMasterMkLst>
        <pc:sldLayoutChg chg="del">
          <pc:chgData name="Fernando Enrique Nuñez Zapata" userId="4887fb29-3871-42a7-b0aa-ea8d45a5c181" providerId="ADAL" clId="{F971DDE7-5A12-4941-9E72-8B4B4EB56397}" dt="2024-07-18T15:56:33.757" v="1208" actId="47"/>
          <pc:sldLayoutMkLst>
            <pc:docMk/>
            <pc:sldMasterMk cId="2979512286" sldId="2147483668"/>
            <pc:sldLayoutMk cId="3377326791" sldId="2147483697"/>
          </pc:sldLayoutMkLst>
        </pc:sldLayoutChg>
      </pc:sldMasterChg>
    </pc:docChg>
  </pc:docChgLst>
  <pc:docChgLst>
    <pc:chgData name="Mary Cruz Portugal Fernandez" userId="5b2e4939-a7dc-4649-be3a-bb2844e519d6" providerId="ADAL" clId="{8170B20B-0A51-4709-993B-4D1DC2CD127B}"/>
    <pc:docChg chg="undo custSel modSld">
      <pc:chgData name="Mary Cruz Portugal Fernandez" userId="5b2e4939-a7dc-4649-be3a-bb2844e519d6" providerId="ADAL" clId="{8170B20B-0A51-4709-993B-4D1DC2CD127B}" dt="2024-06-17T19:04:27.756" v="1008" actId="1076"/>
      <pc:docMkLst>
        <pc:docMk/>
      </pc:docMkLst>
      <pc:sldChg chg="addSp delSp modSp mod addAnim delAnim">
        <pc:chgData name="Mary Cruz Portugal Fernandez" userId="5b2e4939-a7dc-4649-be3a-bb2844e519d6" providerId="ADAL" clId="{8170B20B-0A51-4709-993B-4D1DC2CD127B}" dt="2024-06-17T19:04:27.756" v="1008" actId="1076"/>
        <pc:sldMkLst>
          <pc:docMk/>
          <pc:sldMk cId="3859250616" sldId="2147310010"/>
        </pc:sldMkLst>
        <pc:spChg chg="mod">
          <ac:chgData name="Mary Cruz Portugal Fernandez" userId="5b2e4939-a7dc-4649-be3a-bb2844e519d6" providerId="ADAL" clId="{8170B20B-0A51-4709-993B-4D1DC2CD127B}" dt="2024-06-17T19:04:25.381" v="1007" actId="1076"/>
          <ac:spMkLst>
            <pc:docMk/>
            <pc:sldMk cId="3859250616" sldId="2147310010"/>
            <ac:spMk id="4" creationId="{7067248C-D7BB-C184-7999-60D7ACA0B5A6}"/>
          </ac:spMkLst>
        </pc:spChg>
        <pc:spChg chg="add del mod">
          <ac:chgData name="Mary Cruz Portugal Fernandez" userId="5b2e4939-a7dc-4649-be3a-bb2844e519d6" providerId="ADAL" clId="{8170B20B-0A51-4709-993B-4D1DC2CD127B}" dt="2024-06-17T15:55:19.341" v="584" actId="478"/>
          <ac:spMkLst>
            <pc:docMk/>
            <pc:sldMk cId="3859250616" sldId="2147310010"/>
            <ac:spMk id="5" creationId="{93313239-8010-D86E-6892-7309CD02BE07}"/>
          </ac:spMkLst>
        </pc:spChg>
        <pc:spChg chg="add mod">
          <ac:chgData name="Mary Cruz Portugal Fernandez" userId="5b2e4939-a7dc-4649-be3a-bb2844e519d6" providerId="ADAL" clId="{8170B20B-0A51-4709-993B-4D1DC2CD127B}" dt="2024-06-17T16:16:41.131" v="655" actId="571"/>
          <ac:spMkLst>
            <pc:docMk/>
            <pc:sldMk cId="3859250616" sldId="2147310010"/>
            <ac:spMk id="5" creationId="{FA835A01-40A1-41C2-B1A2-84818A950B26}"/>
          </ac:spMkLst>
        </pc:spChg>
        <pc:spChg chg="mod">
          <ac:chgData name="Mary Cruz Portugal Fernandez" userId="5b2e4939-a7dc-4649-be3a-bb2844e519d6" providerId="ADAL" clId="{8170B20B-0A51-4709-993B-4D1DC2CD127B}" dt="2024-06-17T19:04:27.756" v="1008" actId="1076"/>
          <ac:spMkLst>
            <pc:docMk/>
            <pc:sldMk cId="3859250616" sldId="2147310010"/>
            <ac:spMk id="8" creationId="{72BD4236-BA29-A902-3EC4-A71088D231CD}"/>
          </ac:spMkLst>
        </pc:spChg>
        <pc:spChg chg="add mod">
          <ac:chgData name="Mary Cruz Portugal Fernandez" userId="5b2e4939-a7dc-4649-be3a-bb2844e519d6" providerId="ADAL" clId="{8170B20B-0A51-4709-993B-4D1DC2CD127B}" dt="2024-06-17T15:56:07.298" v="585" actId="571"/>
          <ac:spMkLst>
            <pc:docMk/>
            <pc:sldMk cId="3859250616" sldId="2147310010"/>
            <ac:spMk id="10" creationId="{97F92CF1-CC5E-69F2-E4EE-8D30FF0029CE}"/>
          </ac:spMkLst>
        </pc:spChg>
        <pc:spChg chg="add mod">
          <ac:chgData name="Mary Cruz Portugal Fernandez" userId="5b2e4939-a7dc-4649-be3a-bb2844e519d6" providerId="ADAL" clId="{8170B20B-0A51-4709-993B-4D1DC2CD127B}" dt="2024-06-17T16:16:41.131" v="655" actId="571"/>
          <ac:spMkLst>
            <pc:docMk/>
            <pc:sldMk cId="3859250616" sldId="2147310010"/>
            <ac:spMk id="10" creationId="{E8439E6B-23E5-E2A9-56E2-EE0D90B063D4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11" creationId="{DC3BD483-F9C1-8DFE-E338-7EA0168F4F08}"/>
          </ac:spMkLst>
        </pc:spChg>
        <pc:spChg chg="add mod">
          <ac:chgData name="Mary Cruz Portugal Fernandez" userId="5b2e4939-a7dc-4649-be3a-bb2844e519d6" providerId="ADAL" clId="{8170B20B-0A51-4709-993B-4D1DC2CD127B}" dt="2024-06-17T15:56:07.298" v="585" actId="571"/>
          <ac:spMkLst>
            <pc:docMk/>
            <pc:sldMk cId="3859250616" sldId="2147310010"/>
            <ac:spMk id="12" creationId="{126EB02D-4CB2-FDD5-425F-CAE2B8BFF5F0}"/>
          </ac:spMkLst>
        </pc:spChg>
        <pc:spChg chg="add mod">
          <ac:chgData name="Mary Cruz Portugal Fernandez" userId="5b2e4939-a7dc-4649-be3a-bb2844e519d6" providerId="ADAL" clId="{8170B20B-0A51-4709-993B-4D1DC2CD127B}" dt="2024-06-17T16:16:41.131" v="655" actId="571"/>
          <ac:spMkLst>
            <pc:docMk/>
            <pc:sldMk cId="3859250616" sldId="2147310010"/>
            <ac:spMk id="12" creationId="{9FD96A4A-C3EE-528C-D758-616053D0BE45}"/>
          </ac:spMkLst>
        </pc:spChg>
        <pc:spChg chg="add mod">
          <ac:chgData name="Mary Cruz Portugal Fernandez" userId="5b2e4939-a7dc-4649-be3a-bb2844e519d6" providerId="ADAL" clId="{8170B20B-0A51-4709-993B-4D1DC2CD127B}" dt="2024-06-17T16:16:49.313" v="656" actId="571"/>
          <ac:spMkLst>
            <pc:docMk/>
            <pc:sldMk cId="3859250616" sldId="2147310010"/>
            <ac:spMk id="13" creationId="{16052F5B-B4D1-F58F-AC20-DBC3C5229EEB}"/>
          </ac:spMkLst>
        </pc:spChg>
        <pc:spChg chg="add mod">
          <ac:chgData name="Mary Cruz Portugal Fernandez" userId="5b2e4939-a7dc-4649-be3a-bb2844e519d6" providerId="ADAL" clId="{8170B20B-0A51-4709-993B-4D1DC2CD127B}" dt="2024-06-17T15:56:07.298" v="585" actId="571"/>
          <ac:spMkLst>
            <pc:docMk/>
            <pc:sldMk cId="3859250616" sldId="2147310010"/>
            <ac:spMk id="13" creationId="{69F1C817-AC80-3785-5EFA-361E0B276438}"/>
          </ac:spMkLst>
        </pc:spChg>
        <pc:spChg chg="add mod">
          <ac:chgData name="Mary Cruz Portugal Fernandez" userId="5b2e4939-a7dc-4649-be3a-bb2844e519d6" providerId="ADAL" clId="{8170B20B-0A51-4709-993B-4D1DC2CD127B}" dt="2024-06-17T15:57:58.783" v="587" actId="1076"/>
          <ac:spMkLst>
            <pc:docMk/>
            <pc:sldMk cId="3859250616" sldId="2147310010"/>
            <ac:spMk id="14" creationId="{0E45D4E0-72A0-B014-1C61-058766E73BB6}"/>
          </ac:spMkLst>
        </pc:spChg>
        <pc:spChg chg="add mod">
          <ac:chgData name="Mary Cruz Portugal Fernandez" userId="5b2e4939-a7dc-4649-be3a-bb2844e519d6" providerId="ADAL" clId="{8170B20B-0A51-4709-993B-4D1DC2CD127B}" dt="2024-06-17T16:16:49.313" v="656" actId="571"/>
          <ac:spMkLst>
            <pc:docMk/>
            <pc:sldMk cId="3859250616" sldId="2147310010"/>
            <ac:spMk id="14" creationId="{FC7AB63A-B305-B544-E033-099DA4B35D76}"/>
          </ac:spMkLst>
        </pc:spChg>
        <pc:spChg chg="add mod">
          <ac:chgData name="Mary Cruz Portugal Fernandez" userId="5b2e4939-a7dc-4649-be3a-bb2844e519d6" providerId="ADAL" clId="{8170B20B-0A51-4709-993B-4D1DC2CD127B}" dt="2024-06-17T15:58:46.327" v="589" actId="1076"/>
          <ac:spMkLst>
            <pc:docMk/>
            <pc:sldMk cId="3859250616" sldId="2147310010"/>
            <ac:spMk id="15" creationId="{2C774FFB-7C48-7CC9-74B3-17CE4A425F3A}"/>
          </ac:spMkLst>
        </pc:spChg>
        <pc:spChg chg="add mod">
          <ac:chgData name="Mary Cruz Portugal Fernandez" userId="5b2e4939-a7dc-4649-be3a-bb2844e519d6" providerId="ADAL" clId="{8170B20B-0A51-4709-993B-4D1DC2CD127B}" dt="2024-06-17T16:16:49.313" v="656" actId="571"/>
          <ac:spMkLst>
            <pc:docMk/>
            <pc:sldMk cId="3859250616" sldId="2147310010"/>
            <ac:spMk id="15" creationId="{4F06D39C-6514-3D3E-1590-70FBDC06403D}"/>
          </ac:spMkLst>
        </pc:spChg>
        <pc:spChg chg="add mod">
          <ac:chgData name="Mary Cruz Portugal Fernandez" userId="5b2e4939-a7dc-4649-be3a-bb2844e519d6" providerId="ADAL" clId="{8170B20B-0A51-4709-993B-4D1DC2CD127B}" dt="2024-06-17T15:59:02.847" v="591" actId="1076"/>
          <ac:spMkLst>
            <pc:docMk/>
            <pc:sldMk cId="3859250616" sldId="2147310010"/>
            <ac:spMk id="16" creationId="{6FBA06A6-3D5F-11F7-336F-60174DD54157}"/>
          </ac:spMkLst>
        </pc:spChg>
        <pc:spChg chg="add mod">
          <ac:chgData name="Mary Cruz Portugal Fernandez" userId="5b2e4939-a7dc-4649-be3a-bb2844e519d6" providerId="ADAL" clId="{8170B20B-0A51-4709-993B-4D1DC2CD127B}" dt="2024-06-17T16:16:55.287" v="657" actId="571"/>
          <ac:spMkLst>
            <pc:docMk/>
            <pc:sldMk cId="3859250616" sldId="2147310010"/>
            <ac:spMk id="16" creationId="{E3ECE7CE-2857-5E5D-6A16-8512227B7828}"/>
          </ac:spMkLst>
        </pc:spChg>
        <pc:spChg chg="add mod">
          <ac:chgData name="Mary Cruz Portugal Fernandez" userId="5b2e4939-a7dc-4649-be3a-bb2844e519d6" providerId="ADAL" clId="{8170B20B-0A51-4709-993B-4D1DC2CD127B}" dt="2024-06-17T15:59:36.078" v="594" actId="1076"/>
          <ac:spMkLst>
            <pc:docMk/>
            <pc:sldMk cId="3859250616" sldId="2147310010"/>
            <ac:spMk id="17" creationId="{9C8F9739-4CE1-0E60-6B02-851B9CC6CEBC}"/>
          </ac:spMkLst>
        </pc:spChg>
        <pc:spChg chg="add mod">
          <ac:chgData name="Mary Cruz Portugal Fernandez" userId="5b2e4939-a7dc-4649-be3a-bb2844e519d6" providerId="ADAL" clId="{8170B20B-0A51-4709-993B-4D1DC2CD127B}" dt="2024-06-17T16:17:03.148" v="659" actId="571"/>
          <ac:spMkLst>
            <pc:docMk/>
            <pc:sldMk cId="3859250616" sldId="2147310010"/>
            <ac:spMk id="17" creationId="{AE0D8594-C761-C2F5-56EB-42914FF64B08}"/>
          </ac:spMkLst>
        </pc:spChg>
        <pc:spChg chg="add mod">
          <ac:chgData name="Mary Cruz Portugal Fernandez" userId="5b2e4939-a7dc-4649-be3a-bb2844e519d6" providerId="ADAL" clId="{8170B20B-0A51-4709-993B-4D1DC2CD127B}" dt="2024-06-17T16:17:03.148" v="659" actId="571"/>
          <ac:spMkLst>
            <pc:docMk/>
            <pc:sldMk cId="3859250616" sldId="2147310010"/>
            <ac:spMk id="18" creationId="{0A507EEA-344B-8982-E43F-F6EAF29F7E88}"/>
          </ac:spMkLst>
        </pc:spChg>
        <pc:spChg chg="add mod">
          <ac:chgData name="Mary Cruz Portugal Fernandez" userId="5b2e4939-a7dc-4649-be3a-bb2844e519d6" providerId="ADAL" clId="{8170B20B-0A51-4709-993B-4D1DC2CD127B}" dt="2024-06-17T16:00:01.966" v="597" actId="1076"/>
          <ac:spMkLst>
            <pc:docMk/>
            <pc:sldMk cId="3859250616" sldId="2147310010"/>
            <ac:spMk id="18" creationId="{1E6728D6-1C1F-5A5D-C451-F4C4A47B0B38}"/>
          </ac:spMkLst>
        </pc:spChg>
        <pc:spChg chg="mod">
          <ac:chgData name="Mary Cruz Portugal Fernandez" userId="5b2e4939-a7dc-4649-be3a-bb2844e519d6" providerId="ADAL" clId="{8170B20B-0A51-4709-993B-4D1DC2CD127B}" dt="2024-06-17T18:18:02.667" v="817" actId="1076"/>
          <ac:spMkLst>
            <pc:docMk/>
            <pc:sldMk cId="3859250616" sldId="2147310010"/>
            <ac:spMk id="20" creationId="{0024B762-D114-F046-5A8A-9FD72FB66685}"/>
          </ac:spMkLst>
        </pc:spChg>
        <pc:spChg chg="add del mod">
          <ac:chgData name="Mary Cruz Portugal Fernandez" userId="5b2e4939-a7dc-4649-be3a-bb2844e519d6" providerId="ADAL" clId="{8170B20B-0A51-4709-993B-4D1DC2CD127B}" dt="2024-06-17T16:00:17.855" v="600" actId="478"/>
          <ac:spMkLst>
            <pc:docMk/>
            <pc:sldMk cId="3859250616" sldId="2147310010"/>
            <ac:spMk id="23" creationId="{92F292D3-514B-6036-6729-6B135B1141B8}"/>
          </ac:spMkLst>
        </pc:spChg>
        <pc:spChg chg="add mod">
          <ac:chgData name="Mary Cruz Portugal Fernandez" userId="5b2e4939-a7dc-4649-be3a-bb2844e519d6" providerId="ADAL" clId="{8170B20B-0A51-4709-993B-4D1DC2CD127B}" dt="2024-06-17T16:17:03.148" v="659" actId="571"/>
          <ac:spMkLst>
            <pc:docMk/>
            <pc:sldMk cId="3859250616" sldId="2147310010"/>
            <ac:spMk id="23" creationId="{9848FBC5-3F69-77C9-3C70-ABCD134D0BF9}"/>
          </ac:spMkLst>
        </pc:spChg>
        <pc:spChg chg="add mod">
          <ac:chgData name="Mary Cruz Portugal Fernandez" userId="5b2e4939-a7dc-4649-be3a-bb2844e519d6" providerId="ADAL" clId="{8170B20B-0A51-4709-993B-4D1DC2CD127B}" dt="2024-06-17T16:00:29.615" v="601" actId="571"/>
          <ac:spMkLst>
            <pc:docMk/>
            <pc:sldMk cId="3859250616" sldId="2147310010"/>
            <ac:spMk id="25" creationId="{070276EF-2020-0552-75B4-8017C6C7C701}"/>
          </ac:spMkLst>
        </pc:spChg>
        <pc:spChg chg="add mod">
          <ac:chgData name="Mary Cruz Portugal Fernandez" userId="5b2e4939-a7dc-4649-be3a-bb2844e519d6" providerId="ADAL" clId="{8170B20B-0A51-4709-993B-4D1DC2CD127B}" dt="2024-06-17T16:17:03.148" v="659" actId="571"/>
          <ac:spMkLst>
            <pc:docMk/>
            <pc:sldMk cId="3859250616" sldId="2147310010"/>
            <ac:spMk id="25" creationId="{71E108C2-95E2-6468-FCE0-CFF6FBCFBD56}"/>
          </ac:spMkLst>
        </pc:spChg>
        <pc:spChg chg="add mod">
          <ac:chgData name="Mary Cruz Portugal Fernandez" userId="5b2e4939-a7dc-4649-be3a-bb2844e519d6" providerId="ADAL" clId="{8170B20B-0A51-4709-993B-4D1DC2CD127B}" dt="2024-06-17T16:17:14.399" v="660" actId="571"/>
          <ac:spMkLst>
            <pc:docMk/>
            <pc:sldMk cId="3859250616" sldId="2147310010"/>
            <ac:spMk id="26" creationId="{435DC4D5-41C7-B890-6186-5CDB1588C0BE}"/>
          </ac:spMkLst>
        </pc:spChg>
        <pc:spChg chg="add mod">
          <ac:chgData name="Mary Cruz Portugal Fernandez" userId="5b2e4939-a7dc-4649-be3a-bb2844e519d6" providerId="ADAL" clId="{8170B20B-0A51-4709-993B-4D1DC2CD127B}" dt="2024-06-17T16:00:29.615" v="601" actId="571"/>
          <ac:spMkLst>
            <pc:docMk/>
            <pc:sldMk cId="3859250616" sldId="2147310010"/>
            <ac:spMk id="26" creationId="{ED80E701-63C8-1CBC-6E99-D76BD8D67B7A}"/>
          </ac:spMkLst>
        </pc:spChg>
        <pc:spChg chg="add mod">
          <ac:chgData name="Mary Cruz Portugal Fernandez" userId="5b2e4939-a7dc-4649-be3a-bb2844e519d6" providerId="ADAL" clId="{8170B20B-0A51-4709-993B-4D1DC2CD127B}" dt="2024-06-17T16:37:00.063" v="785" actId="1076"/>
          <ac:spMkLst>
            <pc:docMk/>
            <pc:sldMk cId="3859250616" sldId="2147310010"/>
            <ac:spMk id="27" creationId="{6111D94B-7E56-484F-EC50-58988A0B0563}"/>
          </ac:spMkLst>
        </pc:spChg>
        <pc:spChg chg="add mod">
          <ac:chgData name="Mary Cruz Portugal Fernandez" userId="5b2e4939-a7dc-4649-be3a-bb2844e519d6" providerId="ADAL" clId="{8170B20B-0A51-4709-993B-4D1DC2CD127B}" dt="2024-06-17T16:00:29.615" v="601" actId="571"/>
          <ac:spMkLst>
            <pc:docMk/>
            <pc:sldMk cId="3859250616" sldId="2147310010"/>
            <ac:spMk id="27" creationId="{AAD44FDC-452B-8E32-9CCB-D9526839F5AB}"/>
          </ac:spMkLst>
        </pc:spChg>
        <pc:spChg chg="add mod">
          <ac:chgData name="Mary Cruz Portugal Fernandez" userId="5b2e4939-a7dc-4649-be3a-bb2844e519d6" providerId="ADAL" clId="{8170B20B-0A51-4709-993B-4D1DC2CD127B}" dt="2024-06-17T16:01:13.510" v="605" actId="1076"/>
          <ac:spMkLst>
            <pc:docMk/>
            <pc:sldMk cId="3859250616" sldId="2147310010"/>
            <ac:spMk id="28" creationId="{23F24E7C-B7A1-D496-3C64-D76D9C5655E8}"/>
          </ac:spMkLst>
        </pc:spChg>
        <pc:spChg chg="add mod">
          <ac:chgData name="Mary Cruz Portugal Fernandez" userId="5b2e4939-a7dc-4649-be3a-bb2844e519d6" providerId="ADAL" clId="{8170B20B-0A51-4709-993B-4D1DC2CD127B}" dt="2024-06-17T16:17:14.399" v="660" actId="571"/>
          <ac:spMkLst>
            <pc:docMk/>
            <pc:sldMk cId="3859250616" sldId="2147310010"/>
            <ac:spMk id="28" creationId="{FF9EA704-FD91-212A-E717-70B00F263D42}"/>
          </ac:spMkLst>
        </pc:spChg>
        <pc:spChg chg="add mod">
          <ac:chgData name="Mary Cruz Portugal Fernandez" userId="5b2e4939-a7dc-4649-be3a-bb2844e519d6" providerId="ADAL" clId="{8170B20B-0A51-4709-993B-4D1DC2CD127B}" dt="2024-06-17T16:17:37.097" v="661" actId="571"/>
          <ac:spMkLst>
            <pc:docMk/>
            <pc:sldMk cId="3859250616" sldId="2147310010"/>
            <ac:spMk id="29" creationId="{9E612E48-CE1B-7FB9-6928-7FE6C86D2C24}"/>
          </ac:spMkLst>
        </pc:spChg>
        <pc:spChg chg="add mod">
          <ac:chgData name="Mary Cruz Portugal Fernandez" userId="5b2e4939-a7dc-4649-be3a-bb2844e519d6" providerId="ADAL" clId="{8170B20B-0A51-4709-993B-4D1DC2CD127B}" dt="2024-06-17T16:17:37.097" v="661" actId="571"/>
          <ac:spMkLst>
            <pc:docMk/>
            <pc:sldMk cId="3859250616" sldId="2147310010"/>
            <ac:spMk id="30" creationId="{DCF0A007-0AEE-ADB7-D809-50EC66EFE6AC}"/>
          </ac:spMkLst>
        </pc:spChg>
        <pc:spChg chg="add mod">
          <ac:chgData name="Mary Cruz Portugal Fernandez" userId="5b2e4939-a7dc-4649-be3a-bb2844e519d6" providerId="ADAL" clId="{8170B20B-0A51-4709-993B-4D1DC2CD127B}" dt="2024-06-17T16:17:37.097" v="661" actId="571"/>
          <ac:spMkLst>
            <pc:docMk/>
            <pc:sldMk cId="3859250616" sldId="2147310010"/>
            <ac:spMk id="31" creationId="{28BE676D-5CC2-7F20-3CC6-4BDB091EDA7E}"/>
          </ac:spMkLst>
        </pc:spChg>
        <pc:spChg chg="add mod">
          <ac:chgData name="Mary Cruz Portugal Fernandez" userId="5b2e4939-a7dc-4649-be3a-bb2844e519d6" providerId="ADAL" clId="{8170B20B-0A51-4709-993B-4D1DC2CD127B}" dt="2024-06-17T16:17:37.097" v="661" actId="571"/>
          <ac:spMkLst>
            <pc:docMk/>
            <pc:sldMk cId="3859250616" sldId="2147310010"/>
            <ac:spMk id="32" creationId="{7A9C8B5D-1A71-E70E-632F-36187B7C5D07}"/>
          </ac:spMkLst>
        </pc:spChg>
        <pc:spChg chg="add mod">
          <ac:chgData name="Mary Cruz Portugal Fernandez" userId="5b2e4939-a7dc-4649-be3a-bb2844e519d6" providerId="ADAL" clId="{8170B20B-0A51-4709-993B-4D1DC2CD127B}" dt="2024-06-17T16:18:20.398" v="667" actId="1076"/>
          <ac:spMkLst>
            <pc:docMk/>
            <pc:sldMk cId="3859250616" sldId="2147310010"/>
            <ac:spMk id="33" creationId="{F65749C1-D038-85F2-BED4-98F635681474}"/>
          </ac:spMkLst>
        </pc:spChg>
        <pc:spChg chg="mod">
          <ac:chgData name="Mary Cruz Portugal Fernandez" userId="5b2e4939-a7dc-4649-be3a-bb2844e519d6" providerId="ADAL" clId="{8170B20B-0A51-4709-993B-4D1DC2CD127B}" dt="2024-06-17T15:38:12.604" v="467" actId="1076"/>
          <ac:spMkLst>
            <pc:docMk/>
            <pc:sldMk cId="3859250616" sldId="2147310010"/>
            <ac:spMk id="65" creationId="{0EE63221-16CE-5BA8-3DD9-0A966B0BD315}"/>
          </ac:spMkLst>
        </pc:spChg>
        <pc:spChg chg="mod">
          <ac:chgData name="Mary Cruz Portugal Fernandez" userId="5b2e4939-a7dc-4649-be3a-bb2844e519d6" providerId="ADAL" clId="{8170B20B-0A51-4709-993B-4D1DC2CD127B}" dt="2024-06-17T18:18:57.335" v="825" actId="20577"/>
          <ac:spMkLst>
            <pc:docMk/>
            <pc:sldMk cId="3859250616" sldId="2147310010"/>
            <ac:spMk id="95" creationId="{1E36C828-9251-7A0D-8548-438D1BC31F5A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99" creationId="{C0D5A59D-44DB-E684-9DB1-3A9CDE79691A}"/>
          </ac:spMkLst>
        </pc:spChg>
        <pc:spChg chg="mod">
          <ac:chgData name="Mary Cruz Portugal Fernandez" userId="5b2e4939-a7dc-4649-be3a-bb2844e519d6" providerId="ADAL" clId="{8170B20B-0A51-4709-993B-4D1DC2CD127B}" dt="2024-06-17T18:18:13.052" v="818" actId="1076"/>
          <ac:spMkLst>
            <pc:docMk/>
            <pc:sldMk cId="3859250616" sldId="2147310010"/>
            <ac:spMk id="101" creationId="{F56E5407-E8CF-1457-A0E3-B6C96658378F}"/>
          </ac:spMkLst>
        </pc:spChg>
        <pc:spChg chg="mod">
          <ac:chgData name="Mary Cruz Portugal Fernandez" userId="5b2e4939-a7dc-4649-be3a-bb2844e519d6" providerId="ADAL" clId="{8170B20B-0A51-4709-993B-4D1DC2CD127B}" dt="2024-06-17T18:18:39.481" v="820" actId="14100"/>
          <ac:spMkLst>
            <pc:docMk/>
            <pc:sldMk cId="3859250616" sldId="2147310010"/>
            <ac:spMk id="102" creationId="{80DD0410-EF02-293E-A16A-F38EC64F2229}"/>
          </ac:spMkLst>
        </pc:spChg>
        <pc:spChg chg="mod">
          <ac:chgData name="Mary Cruz Portugal Fernandez" userId="5b2e4939-a7dc-4649-be3a-bb2844e519d6" providerId="ADAL" clId="{8170B20B-0A51-4709-993B-4D1DC2CD127B}" dt="2024-06-17T15:41:56.929" v="502" actId="1076"/>
          <ac:spMkLst>
            <pc:docMk/>
            <pc:sldMk cId="3859250616" sldId="2147310010"/>
            <ac:spMk id="104" creationId="{5D8422E2-EB36-49DB-8570-A731E28EBA4B}"/>
          </ac:spMkLst>
        </pc:spChg>
        <pc:spChg chg="mod">
          <ac:chgData name="Mary Cruz Portugal Fernandez" userId="5b2e4939-a7dc-4649-be3a-bb2844e519d6" providerId="ADAL" clId="{8170B20B-0A51-4709-993B-4D1DC2CD127B}" dt="2024-06-17T18:18:02.667" v="817" actId="1076"/>
          <ac:spMkLst>
            <pc:docMk/>
            <pc:sldMk cId="3859250616" sldId="2147310010"/>
            <ac:spMk id="105" creationId="{73D40486-DE55-3DA7-2940-6686DB4563A5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106" creationId="{72116619-BA42-BEBD-B68B-E4E2C0E492F0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128" creationId="{F2315BB7-FBF3-84B1-9E97-AF4A3D6EEAF1}"/>
          </ac:spMkLst>
        </pc:spChg>
        <pc:spChg chg="mod">
          <ac:chgData name="Mary Cruz Portugal Fernandez" userId="5b2e4939-a7dc-4649-be3a-bb2844e519d6" providerId="ADAL" clId="{8170B20B-0A51-4709-993B-4D1DC2CD127B}" dt="2024-06-17T18:19:38.237" v="828" actId="12788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Mary Cruz Portugal Fernandez" userId="5b2e4939-a7dc-4649-be3a-bb2844e519d6" providerId="ADAL" clId="{8170B20B-0A51-4709-993B-4D1DC2CD127B}" dt="2024-06-17T18:19:47.152" v="829" actId="1076"/>
          <ac:spMkLst>
            <pc:docMk/>
            <pc:sldMk cId="3859250616" sldId="2147310010"/>
            <ac:spMk id="130" creationId="{1C78E1CB-3E5F-962B-D1F3-2168A7EA4945}"/>
          </ac:spMkLst>
        </pc:spChg>
        <pc:grpChg chg="mod">
          <ac:chgData name="Mary Cruz Portugal Fernandez" userId="5b2e4939-a7dc-4649-be3a-bb2844e519d6" providerId="ADAL" clId="{8170B20B-0A51-4709-993B-4D1DC2CD127B}" dt="2024-06-17T18:18:13.052" v="818" actId="1076"/>
          <ac:grpSpMkLst>
            <pc:docMk/>
            <pc:sldMk cId="3859250616" sldId="2147310010"/>
            <ac:grpSpMk id="19" creationId="{B63DE317-0B7F-07F3-02DC-C07F39DD420B}"/>
          </ac:grpSpMkLst>
        </pc:grpChg>
        <pc:grpChg chg="mod">
          <ac:chgData name="Mary Cruz Portugal Fernandez" userId="5b2e4939-a7dc-4649-be3a-bb2844e519d6" providerId="ADAL" clId="{8170B20B-0A51-4709-993B-4D1DC2CD127B}" dt="2024-06-17T16:18:03.298" v="662" actId="1076"/>
          <ac:grpSpMkLst>
            <pc:docMk/>
            <pc:sldMk cId="3859250616" sldId="2147310010"/>
            <ac:grpSpMk id="56" creationId="{26C36EE6-18F1-C2AF-B99B-694EAD485BC0}"/>
          </ac:grpSpMkLst>
        </pc:grpChg>
        <pc:grpChg chg="mod">
          <ac:chgData name="Mary Cruz Portugal Fernandez" userId="5b2e4939-a7dc-4649-be3a-bb2844e519d6" providerId="ADAL" clId="{8170B20B-0A51-4709-993B-4D1DC2CD127B}" dt="2024-06-17T18:18:13.052" v="818" actId="1076"/>
          <ac:grpSpMkLst>
            <pc:docMk/>
            <pc:sldMk cId="3859250616" sldId="2147310010"/>
            <ac:grpSpMk id="111" creationId="{528DFC98-4198-10D5-8D8E-A5F6039611C8}"/>
          </ac:grpSpMkLst>
        </pc:grpChg>
        <pc:graphicFrameChg chg="mod modGraphic">
          <ac:chgData name="Mary Cruz Portugal Fernandez" userId="5b2e4939-a7dc-4649-be3a-bb2844e519d6" providerId="ADAL" clId="{8170B20B-0A51-4709-993B-4D1DC2CD127B}" dt="2024-06-17T18:20:02.385" v="830" actId="14100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18:09.486" v="665" actId="20577"/>
          <ac:graphicFrameMkLst>
            <pc:docMk/>
            <pc:sldMk cId="3859250616" sldId="2147310010"/>
            <ac:graphicFrameMk id="49" creationId="{88FCF8A2-08D8-B125-B8AF-5C065C1F1ADF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9:03:38.921" v="1004" actId="255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15:49.605" v="646" actId="14100"/>
          <ac:graphicFrameMkLst>
            <pc:docMk/>
            <pc:sldMk cId="3859250616" sldId="2147310010"/>
            <ac:graphicFrameMk id="72" creationId="{4A3A1DD2-0C93-56D8-AB9B-783B736DD38E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9:03:30.632" v="1003" actId="255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15:56.829" v="648" actId="14100"/>
          <ac:graphicFrameMkLst>
            <pc:docMk/>
            <pc:sldMk cId="3859250616" sldId="2147310010"/>
            <ac:graphicFrameMk id="76" creationId="{3125FE1B-2FDF-853D-752A-C7EBA35BC40E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16:12.877" v="653" actId="14100"/>
          <ac:graphicFrameMkLst>
            <pc:docMk/>
            <pc:sldMk cId="3859250616" sldId="2147310010"/>
            <ac:graphicFrameMk id="84" creationId="{0E4A6745-5BA5-C2F3-3FC1-BE781AD33559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7:04:38.456" v="796" actId="14734"/>
          <ac:graphicFrameMkLst>
            <pc:docMk/>
            <pc:sldMk cId="3859250616" sldId="2147310010"/>
            <ac:graphicFrameMk id="88" creationId="{AD4EB308-7E31-1D22-1686-947331237029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16:02.517" v="650" actId="14100"/>
          <ac:graphicFrameMkLst>
            <pc:docMk/>
            <pc:sldMk cId="3859250616" sldId="2147310010"/>
            <ac:graphicFrameMk id="110" creationId="{751A893B-CEB1-72E6-7813-28330BFF72D4}"/>
          </ac:graphicFrameMkLst>
        </pc:graphicFrameChg>
        <pc:cxnChg chg="mod">
          <ac:chgData name="Mary Cruz Portugal Fernandez" userId="5b2e4939-a7dc-4649-be3a-bb2844e519d6" providerId="ADAL" clId="{8170B20B-0A51-4709-993B-4D1DC2CD127B}" dt="2024-06-17T16:18:03.298" v="662" actId="1076"/>
          <ac:cxnSpMkLst>
            <pc:docMk/>
            <pc:sldMk cId="3859250616" sldId="2147310010"/>
            <ac:cxnSpMk id="51" creationId="{C206E334-3B8E-C988-A1A2-955D965AC5FD}"/>
          </ac:cxnSpMkLst>
        </pc:cxnChg>
      </pc:sldChg>
      <pc:sldChg chg="addSp delSp modSp mod addAnim delAnim modAnim">
        <pc:chgData name="Mary Cruz Portugal Fernandez" userId="5b2e4939-a7dc-4649-be3a-bb2844e519d6" providerId="ADAL" clId="{8170B20B-0A51-4709-993B-4D1DC2CD127B}" dt="2024-06-17T18:31:54.428" v="931" actId="20577"/>
        <pc:sldMkLst>
          <pc:docMk/>
          <pc:sldMk cId="659418568" sldId="2147310011"/>
        </pc:sldMkLst>
        <pc:spChg chg="mod">
          <ac:chgData name="Mary Cruz Portugal Fernandez" userId="5b2e4939-a7dc-4649-be3a-bb2844e519d6" providerId="ADAL" clId="{8170B20B-0A51-4709-993B-4D1DC2CD127B}" dt="2024-06-17T16:13:47.246" v="641" actId="1076"/>
          <ac:spMkLst>
            <pc:docMk/>
            <pc:sldMk cId="659418568" sldId="2147310011"/>
            <ac:spMk id="3" creationId="{1B4FD9C1-A962-04BE-C074-5A0529AD491A}"/>
          </ac:spMkLst>
        </pc:spChg>
        <pc:spChg chg="add mod">
          <ac:chgData name="Mary Cruz Portugal Fernandez" userId="5b2e4939-a7dc-4649-be3a-bb2844e519d6" providerId="ADAL" clId="{8170B20B-0A51-4709-993B-4D1DC2CD127B}" dt="2024-06-17T16:20:49.196" v="683" actId="1076"/>
          <ac:spMkLst>
            <pc:docMk/>
            <pc:sldMk cId="659418568" sldId="2147310011"/>
            <ac:spMk id="5" creationId="{864ABA00-E359-4D43-117C-9C763BDA541E}"/>
          </ac:spMkLst>
        </pc:spChg>
        <pc:spChg chg="mod">
          <ac:chgData name="Mary Cruz Portugal Fernandez" userId="5b2e4939-a7dc-4649-be3a-bb2844e519d6" providerId="ADAL" clId="{8170B20B-0A51-4709-993B-4D1DC2CD127B}" dt="2024-06-17T18:25:50.825" v="865" actId="14100"/>
          <ac:spMkLst>
            <pc:docMk/>
            <pc:sldMk cId="659418568" sldId="2147310011"/>
            <ac:spMk id="7" creationId="{B4E3CC02-00CB-686C-B6AA-8EB7AE4E4E80}"/>
          </ac:spMkLst>
        </pc:spChg>
        <pc:spChg chg="mod">
          <ac:chgData name="Mary Cruz Portugal Fernandez" userId="5b2e4939-a7dc-4649-be3a-bb2844e519d6" providerId="ADAL" clId="{8170B20B-0A51-4709-993B-4D1DC2CD127B}" dt="2024-06-17T18:25:34.576" v="863" actId="1076"/>
          <ac:spMkLst>
            <pc:docMk/>
            <pc:sldMk cId="659418568" sldId="2147310011"/>
            <ac:spMk id="10" creationId="{D5E651B5-AC20-A328-3F4F-30292580B6AF}"/>
          </ac:spMkLst>
        </pc:spChg>
        <pc:spChg chg="del mod">
          <ac:chgData name="Mary Cruz Portugal Fernandez" userId="5b2e4939-a7dc-4649-be3a-bb2844e519d6" providerId="ADAL" clId="{8170B20B-0A51-4709-993B-4D1DC2CD127B}" dt="2024-06-17T16:23:50.115" v="701" actId="478"/>
          <ac:spMkLst>
            <pc:docMk/>
            <pc:sldMk cId="659418568" sldId="2147310011"/>
            <ac:spMk id="11" creationId="{565F6C1F-2808-3F86-962F-F5D772EF4E69}"/>
          </ac:spMkLst>
        </pc:spChg>
        <pc:spChg chg="add mod">
          <ac:chgData name="Mary Cruz Portugal Fernandez" userId="5b2e4939-a7dc-4649-be3a-bb2844e519d6" providerId="ADAL" clId="{8170B20B-0A51-4709-993B-4D1DC2CD127B}" dt="2024-06-17T16:22:06.092" v="692" actId="1076"/>
          <ac:spMkLst>
            <pc:docMk/>
            <pc:sldMk cId="659418568" sldId="2147310011"/>
            <ac:spMk id="12" creationId="{04C36FAC-F871-DE21-B6D9-F5A07F7E7F4C}"/>
          </ac:spMkLst>
        </pc:spChg>
        <pc:spChg chg="del">
          <ac:chgData name="Mary Cruz Portugal Fernandez" userId="5b2e4939-a7dc-4649-be3a-bb2844e519d6" providerId="ADAL" clId="{8170B20B-0A51-4709-993B-4D1DC2CD127B}" dt="2024-06-11T17:23:32.028" v="455" actId="478"/>
          <ac:spMkLst>
            <pc:docMk/>
            <pc:sldMk cId="659418568" sldId="2147310011"/>
            <ac:spMk id="12" creationId="{4A600C0C-9714-C371-9608-B8FEECA2B72C}"/>
          </ac:spMkLst>
        </pc:spChg>
        <pc:spChg chg="mod">
          <ac:chgData name="Mary Cruz Portugal Fernandez" userId="5b2e4939-a7dc-4649-be3a-bb2844e519d6" providerId="ADAL" clId="{8170B20B-0A51-4709-993B-4D1DC2CD127B}" dt="2024-06-17T18:27:50.928" v="889" actId="1076"/>
          <ac:spMkLst>
            <pc:docMk/>
            <pc:sldMk cId="659418568" sldId="2147310011"/>
            <ac:spMk id="13" creationId="{A7F9AE06-D696-4934-3E94-C88F1F554421}"/>
          </ac:spMkLst>
        </pc:spChg>
        <pc:spChg chg="add mod">
          <ac:chgData name="Mary Cruz Portugal Fernandez" userId="5b2e4939-a7dc-4649-be3a-bb2844e519d6" providerId="ADAL" clId="{8170B20B-0A51-4709-993B-4D1DC2CD127B}" dt="2024-06-17T16:21:29.204" v="690" actId="1076"/>
          <ac:spMkLst>
            <pc:docMk/>
            <pc:sldMk cId="659418568" sldId="2147310011"/>
            <ac:spMk id="14" creationId="{24735855-76B0-222C-B373-73B9B1BD1713}"/>
          </ac:spMkLst>
        </pc:spChg>
        <pc:spChg chg="add mod">
          <ac:chgData name="Mary Cruz Portugal Fernandez" userId="5b2e4939-a7dc-4649-be3a-bb2844e519d6" providerId="ADAL" clId="{8170B20B-0A51-4709-993B-4D1DC2CD127B}" dt="2024-06-17T16:21:04.572" v="687" actId="571"/>
          <ac:spMkLst>
            <pc:docMk/>
            <pc:sldMk cId="659418568" sldId="2147310011"/>
            <ac:spMk id="18" creationId="{0BD6C5B2-9B32-22B9-E906-A5C97740A5C2}"/>
          </ac:spMkLst>
        </pc:spChg>
        <pc:spChg chg="mod">
          <ac:chgData name="Mary Cruz Portugal Fernandez" userId="5b2e4939-a7dc-4649-be3a-bb2844e519d6" providerId="ADAL" clId="{8170B20B-0A51-4709-993B-4D1DC2CD127B}" dt="2024-06-17T18:26:09.226" v="869" actId="1076"/>
          <ac:spMkLst>
            <pc:docMk/>
            <pc:sldMk cId="659418568" sldId="2147310011"/>
            <ac:spMk id="19" creationId="{219F0228-A5E0-622A-2D4F-539E5C6179DC}"/>
          </ac:spMkLst>
        </pc:spChg>
        <pc:spChg chg="add mod">
          <ac:chgData name="Mary Cruz Portugal Fernandez" userId="5b2e4939-a7dc-4649-be3a-bb2844e519d6" providerId="ADAL" clId="{8170B20B-0A51-4709-993B-4D1DC2CD127B}" dt="2024-06-17T16:21:04.572" v="687" actId="571"/>
          <ac:spMkLst>
            <pc:docMk/>
            <pc:sldMk cId="659418568" sldId="2147310011"/>
            <ac:spMk id="20" creationId="{5D26D9A8-7D39-C2AD-9489-9F72480CF5FF}"/>
          </ac:spMkLst>
        </pc:spChg>
        <pc:spChg chg="mod">
          <ac:chgData name="Mary Cruz Portugal Fernandez" userId="5b2e4939-a7dc-4649-be3a-bb2844e519d6" providerId="ADAL" clId="{8170B20B-0A51-4709-993B-4D1DC2CD127B}" dt="2024-06-17T18:29:34.297" v="912" actId="1076"/>
          <ac:spMkLst>
            <pc:docMk/>
            <pc:sldMk cId="659418568" sldId="2147310011"/>
            <ac:spMk id="21" creationId="{5B959601-DD31-4729-C9B0-B57914C14169}"/>
          </ac:spMkLst>
        </pc:spChg>
        <pc:spChg chg="mod">
          <ac:chgData name="Mary Cruz Portugal Fernandez" userId="5b2e4939-a7dc-4649-be3a-bb2844e519d6" providerId="ADAL" clId="{8170B20B-0A51-4709-993B-4D1DC2CD127B}" dt="2024-06-17T18:25:18.200" v="861" actId="1076"/>
          <ac:spMkLst>
            <pc:docMk/>
            <pc:sldMk cId="659418568" sldId="2147310011"/>
            <ac:spMk id="22" creationId="{45C3EB06-E612-7EBF-22B6-98E1A6FE3A4E}"/>
          </ac:spMkLst>
        </pc:spChg>
        <pc:spChg chg="add mod">
          <ac:chgData name="Mary Cruz Portugal Fernandez" userId="5b2e4939-a7dc-4649-be3a-bb2844e519d6" providerId="ADAL" clId="{8170B20B-0A51-4709-993B-4D1DC2CD127B}" dt="2024-06-17T16:21:04.572" v="687" actId="571"/>
          <ac:spMkLst>
            <pc:docMk/>
            <pc:sldMk cId="659418568" sldId="2147310011"/>
            <ac:spMk id="23" creationId="{7EDFA53D-6C58-FA60-3067-373C8F2DAFAD}"/>
          </ac:spMkLst>
        </pc:spChg>
        <pc:spChg chg="mod">
          <ac:chgData name="Mary Cruz Portugal Fernandez" userId="5b2e4939-a7dc-4649-be3a-bb2844e519d6" providerId="ADAL" clId="{8170B20B-0A51-4709-993B-4D1DC2CD127B}" dt="2024-06-17T18:25:34.576" v="863" actId="1076"/>
          <ac:spMkLst>
            <pc:docMk/>
            <pc:sldMk cId="659418568" sldId="2147310011"/>
            <ac:spMk id="24" creationId="{4AF58815-663E-DAFF-D385-F59EF022E77C}"/>
          </ac:spMkLst>
        </pc:spChg>
        <pc:spChg chg="add mod">
          <ac:chgData name="Mary Cruz Portugal Fernandez" userId="5b2e4939-a7dc-4649-be3a-bb2844e519d6" providerId="ADAL" clId="{8170B20B-0A51-4709-993B-4D1DC2CD127B}" dt="2024-06-17T16:21:09.495" v="688" actId="571"/>
          <ac:spMkLst>
            <pc:docMk/>
            <pc:sldMk cId="659418568" sldId="2147310011"/>
            <ac:spMk id="25" creationId="{FE45BCE1-B1AA-3086-66A1-D2D89B0B26ED}"/>
          </ac:spMkLst>
        </pc:spChg>
        <pc:spChg chg="add mod">
          <ac:chgData name="Mary Cruz Portugal Fernandez" userId="5b2e4939-a7dc-4649-be3a-bb2844e519d6" providerId="ADAL" clId="{8170B20B-0A51-4709-993B-4D1DC2CD127B}" dt="2024-06-17T16:21:09.495" v="688" actId="571"/>
          <ac:spMkLst>
            <pc:docMk/>
            <pc:sldMk cId="659418568" sldId="2147310011"/>
            <ac:spMk id="26" creationId="{5A5B5497-8CBB-0B50-9E25-C2C75F247C25}"/>
          </ac:spMkLst>
        </pc:spChg>
        <pc:spChg chg="mod">
          <ac:chgData name="Mary Cruz Portugal Fernandez" userId="5b2e4939-a7dc-4649-be3a-bb2844e519d6" providerId="ADAL" clId="{8170B20B-0A51-4709-993B-4D1DC2CD127B}" dt="2024-06-17T18:25:47.818" v="864" actId="1076"/>
          <ac:spMkLst>
            <pc:docMk/>
            <pc:sldMk cId="659418568" sldId="2147310011"/>
            <ac:spMk id="27" creationId="{7CF16DB1-945A-B93B-67A6-671788ECD334}"/>
          </ac:spMkLst>
        </pc:spChg>
        <pc:spChg chg="add mod">
          <ac:chgData name="Mary Cruz Portugal Fernandez" userId="5b2e4939-a7dc-4649-be3a-bb2844e519d6" providerId="ADAL" clId="{8170B20B-0A51-4709-993B-4D1DC2CD127B}" dt="2024-06-17T16:21:09.495" v="688" actId="571"/>
          <ac:spMkLst>
            <pc:docMk/>
            <pc:sldMk cId="659418568" sldId="2147310011"/>
            <ac:spMk id="28" creationId="{CB99EBFC-45D5-1736-1D06-E269E4C4FFFE}"/>
          </ac:spMkLst>
        </pc:spChg>
        <pc:spChg chg="add mod">
          <ac:chgData name="Mary Cruz Portugal Fernandez" userId="5b2e4939-a7dc-4649-be3a-bb2844e519d6" providerId="ADAL" clId="{8170B20B-0A51-4709-993B-4D1DC2CD127B}" dt="2024-06-17T16:21:20.518" v="689" actId="571"/>
          <ac:spMkLst>
            <pc:docMk/>
            <pc:sldMk cId="659418568" sldId="2147310011"/>
            <ac:spMk id="29" creationId="{905622FA-7727-12D4-F30E-1150DB3919F2}"/>
          </ac:spMkLst>
        </pc:spChg>
        <pc:spChg chg="add mod">
          <ac:chgData name="Mary Cruz Portugal Fernandez" userId="5b2e4939-a7dc-4649-be3a-bb2844e519d6" providerId="ADAL" clId="{8170B20B-0A51-4709-993B-4D1DC2CD127B}" dt="2024-06-17T15:45:02.602" v="520" actId="571"/>
          <ac:spMkLst>
            <pc:docMk/>
            <pc:sldMk cId="659418568" sldId="2147310011"/>
            <ac:spMk id="29" creationId="{9E9A7A1C-9060-282C-58FF-132B0894E95B}"/>
          </ac:spMkLst>
        </pc:spChg>
        <pc:spChg chg="add mod">
          <ac:chgData name="Mary Cruz Portugal Fernandez" userId="5b2e4939-a7dc-4649-be3a-bb2844e519d6" providerId="ADAL" clId="{8170B20B-0A51-4709-993B-4D1DC2CD127B}" dt="2024-06-17T15:45:02.602" v="520" actId="571"/>
          <ac:spMkLst>
            <pc:docMk/>
            <pc:sldMk cId="659418568" sldId="2147310011"/>
            <ac:spMk id="30" creationId="{771EE6C3-D1B1-864B-C19D-7D2656B62151}"/>
          </ac:spMkLst>
        </pc:spChg>
        <pc:spChg chg="add mod">
          <ac:chgData name="Mary Cruz Portugal Fernandez" userId="5b2e4939-a7dc-4649-be3a-bb2844e519d6" providerId="ADAL" clId="{8170B20B-0A51-4709-993B-4D1DC2CD127B}" dt="2024-06-17T16:21:20.518" v="689" actId="571"/>
          <ac:spMkLst>
            <pc:docMk/>
            <pc:sldMk cId="659418568" sldId="2147310011"/>
            <ac:spMk id="30" creationId="{F2C6A1C6-BD3C-9A30-7C5C-002AF9E406D5}"/>
          </ac:spMkLst>
        </pc:spChg>
        <pc:spChg chg="add mod">
          <ac:chgData name="Mary Cruz Portugal Fernandez" userId="5b2e4939-a7dc-4649-be3a-bb2844e519d6" providerId="ADAL" clId="{8170B20B-0A51-4709-993B-4D1DC2CD127B}" dt="2024-06-17T16:21:20.518" v="689" actId="571"/>
          <ac:spMkLst>
            <pc:docMk/>
            <pc:sldMk cId="659418568" sldId="2147310011"/>
            <ac:spMk id="31" creationId="{0A508DAD-578A-F288-1ED1-04264555791F}"/>
          </ac:spMkLst>
        </pc:spChg>
        <pc:spChg chg="add mod">
          <ac:chgData name="Mary Cruz Portugal Fernandez" userId="5b2e4939-a7dc-4649-be3a-bb2844e519d6" providerId="ADAL" clId="{8170B20B-0A51-4709-993B-4D1DC2CD127B}" dt="2024-06-17T15:45:02.602" v="520" actId="571"/>
          <ac:spMkLst>
            <pc:docMk/>
            <pc:sldMk cId="659418568" sldId="2147310011"/>
            <ac:spMk id="31" creationId="{249768BA-D8DE-2A23-3F51-96E09ED0C0B9}"/>
          </ac:spMkLst>
        </pc:spChg>
        <pc:spChg chg="add mod">
          <ac:chgData name="Mary Cruz Portugal Fernandez" userId="5b2e4939-a7dc-4649-be3a-bb2844e519d6" providerId="ADAL" clId="{8170B20B-0A51-4709-993B-4D1DC2CD127B}" dt="2024-06-17T16:21:55.761" v="691" actId="571"/>
          <ac:spMkLst>
            <pc:docMk/>
            <pc:sldMk cId="659418568" sldId="2147310011"/>
            <ac:spMk id="32" creationId="{1197E25B-6D3A-FEEF-63FC-F93F5DAC662D}"/>
          </ac:spMkLst>
        </pc:spChg>
        <pc:spChg chg="add mod">
          <ac:chgData name="Mary Cruz Portugal Fernandez" userId="5b2e4939-a7dc-4649-be3a-bb2844e519d6" providerId="ADAL" clId="{8170B20B-0A51-4709-993B-4D1DC2CD127B}" dt="2024-06-17T16:03:47.952" v="606" actId="571"/>
          <ac:spMkLst>
            <pc:docMk/>
            <pc:sldMk cId="659418568" sldId="2147310011"/>
            <ac:spMk id="32" creationId="{D405EB4E-9E8F-F914-5ED8-57711FB50A6E}"/>
          </ac:spMkLst>
        </pc:spChg>
        <pc:spChg chg="add mod">
          <ac:chgData name="Mary Cruz Portugal Fernandez" userId="5b2e4939-a7dc-4649-be3a-bb2844e519d6" providerId="ADAL" clId="{8170B20B-0A51-4709-993B-4D1DC2CD127B}" dt="2024-06-17T16:03:47.952" v="606" actId="571"/>
          <ac:spMkLst>
            <pc:docMk/>
            <pc:sldMk cId="659418568" sldId="2147310011"/>
            <ac:spMk id="33" creationId="{B1EB718E-C4E1-EEA4-5348-615AB321EA5F}"/>
          </ac:spMkLst>
        </pc:spChg>
        <pc:spChg chg="add mod">
          <ac:chgData name="Mary Cruz Portugal Fernandez" userId="5b2e4939-a7dc-4649-be3a-bb2844e519d6" providerId="ADAL" clId="{8170B20B-0A51-4709-993B-4D1DC2CD127B}" dt="2024-06-17T16:21:55.761" v="691" actId="571"/>
          <ac:spMkLst>
            <pc:docMk/>
            <pc:sldMk cId="659418568" sldId="2147310011"/>
            <ac:spMk id="33" creationId="{F090D38F-BBF0-7EC9-348C-458590DFAD1C}"/>
          </ac:spMkLst>
        </pc:spChg>
        <pc:spChg chg="add mod">
          <ac:chgData name="Mary Cruz Portugal Fernandez" userId="5b2e4939-a7dc-4649-be3a-bb2844e519d6" providerId="ADAL" clId="{8170B20B-0A51-4709-993B-4D1DC2CD127B}" dt="2024-06-17T16:03:47.952" v="606" actId="571"/>
          <ac:spMkLst>
            <pc:docMk/>
            <pc:sldMk cId="659418568" sldId="2147310011"/>
            <ac:spMk id="34" creationId="{41350B54-3327-86A3-1B6F-180669584DD5}"/>
          </ac:spMkLst>
        </pc:spChg>
        <pc:spChg chg="add mod">
          <ac:chgData name="Mary Cruz Portugal Fernandez" userId="5b2e4939-a7dc-4649-be3a-bb2844e519d6" providerId="ADAL" clId="{8170B20B-0A51-4709-993B-4D1DC2CD127B}" dt="2024-06-17T16:21:55.761" v="691" actId="571"/>
          <ac:spMkLst>
            <pc:docMk/>
            <pc:sldMk cId="659418568" sldId="2147310011"/>
            <ac:spMk id="34" creationId="{D7B66142-E2A1-EFAB-C235-CC17401A26AB}"/>
          </ac:spMkLst>
        </pc:spChg>
        <pc:spChg chg="add mod">
          <ac:chgData name="Mary Cruz Portugal Fernandez" userId="5b2e4939-a7dc-4649-be3a-bb2844e519d6" providerId="ADAL" clId="{8170B20B-0A51-4709-993B-4D1DC2CD127B}" dt="2024-06-17T16:21:55.761" v="691" actId="571"/>
          <ac:spMkLst>
            <pc:docMk/>
            <pc:sldMk cId="659418568" sldId="2147310011"/>
            <ac:spMk id="35" creationId="{3975D2F2-F083-430C-348A-F55C5437C1D2}"/>
          </ac:spMkLst>
        </pc:spChg>
        <pc:spChg chg="add del mod">
          <ac:chgData name="Mary Cruz Portugal Fernandez" userId="5b2e4939-a7dc-4649-be3a-bb2844e519d6" providerId="ADAL" clId="{8170B20B-0A51-4709-993B-4D1DC2CD127B}" dt="2024-06-17T16:13:06.213" v="636" actId="478"/>
          <ac:spMkLst>
            <pc:docMk/>
            <pc:sldMk cId="659418568" sldId="2147310011"/>
            <ac:spMk id="35" creationId="{CDD43CA6-B217-B82E-55ED-72079EF45B8D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36" creationId="{452F4D5C-B642-7571-7282-992C002072E5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37" creationId="{292551EF-C832-364F-5BE9-4E86FD49370E}"/>
          </ac:spMkLst>
        </pc:spChg>
        <pc:spChg chg="add mod">
          <ac:chgData name="Mary Cruz Portugal Fernandez" userId="5b2e4939-a7dc-4649-be3a-bb2844e519d6" providerId="ADAL" clId="{8170B20B-0A51-4709-993B-4D1DC2CD127B}" dt="2024-06-17T16:04:55.121" v="612" actId="571"/>
          <ac:spMkLst>
            <pc:docMk/>
            <pc:sldMk cId="659418568" sldId="2147310011"/>
            <ac:spMk id="37" creationId="{3EBDA7E2-92D6-B0F2-5361-FC559177B2CD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38" creationId="{6B7EC711-FF2D-FEF3-DBD5-A13A21831300}"/>
          </ac:spMkLst>
        </pc:spChg>
        <pc:spChg chg="add mod">
          <ac:chgData name="Mary Cruz Portugal Fernandez" userId="5b2e4939-a7dc-4649-be3a-bb2844e519d6" providerId="ADAL" clId="{8170B20B-0A51-4709-993B-4D1DC2CD127B}" dt="2024-06-17T16:04:55.121" v="612" actId="571"/>
          <ac:spMkLst>
            <pc:docMk/>
            <pc:sldMk cId="659418568" sldId="2147310011"/>
            <ac:spMk id="38" creationId="{E1A6BE2F-AFC1-49D7-466C-D93D1CA98427}"/>
          </ac:spMkLst>
        </pc:spChg>
        <pc:spChg chg="add mod">
          <ac:chgData name="Mary Cruz Portugal Fernandez" userId="5b2e4939-a7dc-4649-be3a-bb2844e519d6" providerId="ADAL" clId="{8170B20B-0A51-4709-993B-4D1DC2CD127B}" dt="2024-06-17T16:04:55.121" v="612" actId="571"/>
          <ac:spMkLst>
            <pc:docMk/>
            <pc:sldMk cId="659418568" sldId="2147310011"/>
            <ac:spMk id="39" creationId="{1CC77A73-45B5-2774-5BD3-89D25C9A4E7C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39" creationId="{BF4E4701-4417-CC9F-835A-E37EDE6C4760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0" creationId="{9548EB51-6942-144F-2D14-3A897DB57019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1" creationId="{0A95764D-2FD8-68A3-59F7-391BB30BEC8E}"/>
          </ac:spMkLst>
        </pc:spChg>
        <pc:spChg chg="add mod">
          <ac:chgData name="Mary Cruz Portugal Fernandez" userId="5b2e4939-a7dc-4649-be3a-bb2844e519d6" providerId="ADAL" clId="{8170B20B-0A51-4709-993B-4D1DC2CD127B}" dt="2024-06-17T16:05:10.617" v="614" actId="571"/>
          <ac:spMkLst>
            <pc:docMk/>
            <pc:sldMk cId="659418568" sldId="2147310011"/>
            <ac:spMk id="41" creationId="{BBA45502-7F84-C7FF-3E27-A2065EFD0F04}"/>
          </ac:spMkLst>
        </pc:spChg>
        <pc:spChg chg="add mod">
          <ac:chgData name="Mary Cruz Portugal Fernandez" userId="5b2e4939-a7dc-4649-be3a-bb2844e519d6" providerId="ADAL" clId="{8170B20B-0A51-4709-993B-4D1DC2CD127B}" dt="2024-06-17T16:05:10.617" v="614" actId="571"/>
          <ac:spMkLst>
            <pc:docMk/>
            <pc:sldMk cId="659418568" sldId="2147310011"/>
            <ac:spMk id="42" creationId="{D2338B79-869C-49BC-CC8B-C622B035AB2D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2" creationId="{F9E58FB8-E62A-80CA-EBF1-3EEDFE7B2C5A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3" creationId="{1128514C-F58C-FD9D-675A-30CD091819B5}"/>
          </ac:spMkLst>
        </pc:spChg>
        <pc:spChg chg="add mod">
          <ac:chgData name="Mary Cruz Portugal Fernandez" userId="5b2e4939-a7dc-4649-be3a-bb2844e519d6" providerId="ADAL" clId="{8170B20B-0A51-4709-993B-4D1DC2CD127B}" dt="2024-06-17T16:05:10.617" v="614" actId="571"/>
          <ac:spMkLst>
            <pc:docMk/>
            <pc:sldMk cId="659418568" sldId="2147310011"/>
            <ac:spMk id="43" creationId="{6E3B257C-6460-871D-442D-0EB6C1EF7CA0}"/>
          </ac:spMkLst>
        </pc:spChg>
        <pc:spChg chg="add mod">
          <ac:chgData name="Mary Cruz Portugal Fernandez" userId="5b2e4939-a7dc-4649-be3a-bb2844e519d6" providerId="ADAL" clId="{8170B20B-0A51-4709-993B-4D1DC2CD127B}" dt="2024-06-17T16:05:28.929" v="615" actId="571"/>
          <ac:spMkLst>
            <pc:docMk/>
            <pc:sldMk cId="659418568" sldId="2147310011"/>
            <ac:spMk id="44" creationId="{0BB8C7A3-FDFE-E971-E043-31B61D324BED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4" creationId="{C7295519-FCFF-1A57-B7E2-9742318B7C4B}"/>
          </ac:spMkLst>
        </pc:spChg>
        <pc:spChg chg="add mod">
          <ac:chgData name="Mary Cruz Portugal Fernandez" userId="5b2e4939-a7dc-4649-be3a-bb2844e519d6" providerId="ADAL" clId="{8170B20B-0A51-4709-993B-4D1DC2CD127B}" dt="2024-06-17T16:05:28.929" v="615" actId="571"/>
          <ac:spMkLst>
            <pc:docMk/>
            <pc:sldMk cId="659418568" sldId="2147310011"/>
            <ac:spMk id="45" creationId="{B175D065-B814-94CE-4994-A31B26A0F76A}"/>
          </ac:spMkLst>
        </pc:spChg>
        <pc:spChg chg="add mod">
          <ac:chgData name="Mary Cruz Portugal Fernandez" userId="5b2e4939-a7dc-4649-be3a-bb2844e519d6" providerId="ADAL" clId="{8170B20B-0A51-4709-993B-4D1DC2CD127B}" dt="2024-06-17T16:23:37.468" v="698" actId="571"/>
          <ac:spMkLst>
            <pc:docMk/>
            <pc:sldMk cId="659418568" sldId="2147310011"/>
            <ac:spMk id="45" creationId="{C2F30AAC-6243-9C69-0F47-1CD0D0E41121}"/>
          </ac:spMkLst>
        </pc:spChg>
        <pc:spChg chg="add mod">
          <ac:chgData name="Mary Cruz Portugal Fernandez" userId="5b2e4939-a7dc-4649-be3a-bb2844e519d6" providerId="ADAL" clId="{8170B20B-0A51-4709-993B-4D1DC2CD127B}" dt="2024-06-17T18:25:34.576" v="863" actId="1076"/>
          <ac:spMkLst>
            <pc:docMk/>
            <pc:sldMk cId="659418568" sldId="2147310011"/>
            <ac:spMk id="46" creationId="{3700AA40-A3C7-6897-6731-84A9E7843935}"/>
          </ac:spMkLst>
        </pc:spChg>
        <pc:spChg chg="add mod">
          <ac:chgData name="Mary Cruz Portugal Fernandez" userId="5b2e4939-a7dc-4649-be3a-bb2844e519d6" providerId="ADAL" clId="{8170B20B-0A51-4709-993B-4D1DC2CD127B}" dt="2024-06-17T16:05:28.929" v="615" actId="571"/>
          <ac:spMkLst>
            <pc:docMk/>
            <pc:sldMk cId="659418568" sldId="2147310011"/>
            <ac:spMk id="46" creationId="{4EADE69A-FBB2-5AA3-85B1-449AED32C2A6}"/>
          </ac:spMkLst>
        </pc:spChg>
        <pc:spChg chg="add mod">
          <ac:chgData name="Mary Cruz Portugal Fernandez" userId="5b2e4939-a7dc-4649-be3a-bb2844e519d6" providerId="ADAL" clId="{8170B20B-0A51-4709-993B-4D1DC2CD127B}" dt="2024-06-17T16:06:50.593" v="616" actId="571"/>
          <ac:spMkLst>
            <pc:docMk/>
            <pc:sldMk cId="659418568" sldId="2147310011"/>
            <ac:spMk id="47" creationId="{E82D9362-E137-AF75-6C57-2AFF3FC298D1}"/>
          </ac:spMkLst>
        </pc:spChg>
        <pc:spChg chg="mod">
          <ac:chgData name="Mary Cruz Portugal Fernandez" userId="5b2e4939-a7dc-4649-be3a-bb2844e519d6" providerId="ADAL" clId="{8170B20B-0A51-4709-993B-4D1DC2CD127B}" dt="2024-06-17T18:29:54.633" v="914" actId="1076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Mary Cruz Portugal Fernandez" userId="5b2e4939-a7dc-4649-be3a-bb2844e519d6" providerId="ADAL" clId="{8170B20B-0A51-4709-993B-4D1DC2CD127B}" dt="2024-06-17T18:29:54.633" v="914" actId="1076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Mary Cruz Portugal Fernandez" userId="5b2e4939-a7dc-4649-be3a-bb2844e519d6" providerId="ADAL" clId="{8170B20B-0A51-4709-993B-4D1DC2CD127B}" dt="2024-06-17T18:27:59.561" v="891" actId="1076"/>
          <ac:spMkLst>
            <pc:docMk/>
            <pc:sldMk cId="659418568" sldId="2147310011"/>
            <ac:spMk id="55" creationId="{72D4B0F3-8C67-0E29-74DD-A4B03B0101B3}"/>
          </ac:spMkLst>
        </pc:spChg>
        <pc:spChg chg="mod">
          <ac:chgData name="Mary Cruz Portugal Fernandez" userId="5b2e4939-a7dc-4649-be3a-bb2844e519d6" providerId="ADAL" clId="{8170B20B-0A51-4709-993B-4D1DC2CD127B}" dt="2024-06-17T18:26:06.376" v="868" actId="1076"/>
          <ac:spMkLst>
            <pc:docMk/>
            <pc:sldMk cId="659418568" sldId="2147310011"/>
            <ac:spMk id="57" creationId="{4532FAF8-B96F-0731-BC66-4E3DB911091F}"/>
          </ac:spMkLst>
        </pc:spChg>
        <pc:spChg chg="add mod">
          <ac:chgData name="Mary Cruz Portugal Fernandez" userId="5b2e4939-a7dc-4649-be3a-bb2844e519d6" providerId="ADAL" clId="{8170B20B-0A51-4709-993B-4D1DC2CD127B}" dt="2024-06-17T16:06:50.593" v="616" actId="571"/>
          <ac:spMkLst>
            <pc:docMk/>
            <pc:sldMk cId="659418568" sldId="2147310011"/>
            <ac:spMk id="59" creationId="{05633656-07B1-82EB-6FD4-A6E486BCA276}"/>
          </ac:spMkLst>
        </pc:spChg>
        <pc:spChg chg="add mod">
          <ac:chgData name="Mary Cruz Portugal Fernandez" userId="5b2e4939-a7dc-4649-be3a-bb2844e519d6" providerId="ADAL" clId="{8170B20B-0A51-4709-993B-4D1DC2CD127B}" dt="2024-06-17T16:06:50.593" v="616" actId="571"/>
          <ac:spMkLst>
            <pc:docMk/>
            <pc:sldMk cId="659418568" sldId="2147310011"/>
            <ac:spMk id="60" creationId="{DF547F41-2D06-BBA6-B2FC-690B4D82F56D}"/>
          </ac:spMkLst>
        </pc:spChg>
        <pc:spChg chg="add mod">
          <ac:chgData name="Mary Cruz Portugal Fernandez" userId="5b2e4939-a7dc-4649-be3a-bb2844e519d6" providerId="ADAL" clId="{8170B20B-0A51-4709-993B-4D1DC2CD127B}" dt="2024-06-17T16:06:50.593" v="616" actId="571"/>
          <ac:spMkLst>
            <pc:docMk/>
            <pc:sldMk cId="659418568" sldId="2147310011"/>
            <ac:spMk id="63" creationId="{E6FE68CB-404F-AA34-075D-E0933AC864CC}"/>
          </ac:spMkLst>
        </pc:spChg>
        <pc:spChg chg="mod">
          <ac:chgData name="Mary Cruz Portugal Fernandez" userId="5b2e4939-a7dc-4649-be3a-bb2844e519d6" providerId="ADAL" clId="{8170B20B-0A51-4709-993B-4D1DC2CD127B}" dt="2024-06-17T18:26:21.895" v="871" actId="14100"/>
          <ac:spMkLst>
            <pc:docMk/>
            <pc:sldMk cId="659418568" sldId="2147310011"/>
            <ac:spMk id="69" creationId="{2CE55FB3-6E6B-F2B1-A24C-58E9F286C2FD}"/>
          </ac:spMkLst>
        </pc:spChg>
        <pc:spChg chg="add del mod">
          <ac:chgData name="Mary Cruz Portugal Fernandez" userId="5b2e4939-a7dc-4649-be3a-bb2844e519d6" providerId="ADAL" clId="{8170B20B-0A51-4709-993B-4D1DC2CD127B}" dt="2024-06-17T16:13:41.462" v="640" actId="478"/>
          <ac:spMkLst>
            <pc:docMk/>
            <pc:sldMk cId="659418568" sldId="2147310011"/>
            <ac:spMk id="72" creationId="{1BE82389-91F7-CFC3-864A-9A1C970C9433}"/>
          </ac:spMkLst>
        </pc:spChg>
        <pc:spChg chg="add del mod">
          <ac:chgData name="Mary Cruz Portugal Fernandez" userId="5b2e4939-a7dc-4649-be3a-bb2844e519d6" providerId="ADAL" clId="{8170B20B-0A51-4709-993B-4D1DC2CD127B}" dt="2024-06-17T16:13:31.273" v="638" actId="478"/>
          <ac:spMkLst>
            <pc:docMk/>
            <pc:sldMk cId="659418568" sldId="2147310011"/>
            <ac:spMk id="75" creationId="{364508B8-C1AF-D956-0FBE-04AB43122BBB}"/>
          </ac:spMkLst>
        </pc:spChg>
        <pc:spChg chg="mod">
          <ac:chgData name="Mary Cruz Portugal Fernandez" userId="5b2e4939-a7dc-4649-be3a-bb2844e519d6" providerId="ADAL" clId="{8170B20B-0A51-4709-993B-4D1DC2CD127B}" dt="2024-06-17T18:25:14.720" v="860" actId="1076"/>
          <ac:spMkLst>
            <pc:docMk/>
            <pc:sldMk cId="659418568" sldId="2147310011"/>
            <ac:spMk id="76" creationId="{486AA1EF-B196-9E38-BC04-DFF376C6E289}"/>
          </ac:spMkLst>
        </pc:spChg>
        <pc:spChg chg="mod">
          <ac:chgData name="Mary Cruz Portugal Fernandez" userId="5b2e4939-a7dc-4649-be3a-bb2844e519d6" providerId="ADAL" clId="{8170B20B-0A51-4709-993B-4D1DC2CD127B}" dt="2024-06-17T18:29:34.297" v="912" actId="1076"/>
          <ac:spMkLst>
            <pc:docMk/>
            <pc:sldMk cId="659418568" sldId="2147310011"/>
            <ac:spMk id="77" creationId="{55B683DE-127F-DC63-3013-DC18FBD2A46F}"/>
          </ac:spMkLst>
        </pc:spChg>
        <pc:spChg chg="mod">
          <ac:chgData name="Mary Cruz Portugal Fernandez" userId="5b2e4939-a7dc-4649-be3a-bb2844e519d6" providerId="ADAL" clId="{8170B20B-0A51-4709-993B-4D1DC2CD127B}" dt="2024-06-17T18:25:57.346" v="866" actId="1076"/>
          <ac:spMkLst>
            <pc:docMk/>
            <pc:sldMk cId="659418568" sldId="2147310011"/>
            <ac:spMk id="82" creationId="{9DA66A22-3529-8FEF-5426-9215D7B34A96}"/>
          </ac:spMkLst>
        </pc:spChg>
        <pc:spChg chg="mod">
          <ac:chgData name="Mary Cruz Portugal Fernandez" userId="5b2e4939-a7dc-4649-be3a-bb2844e519d6" providerId="ADAL" clId="{8170B20B-0A51-4709-993B-4D1DC2CD127B}" dt="2024-06-17T18:27:50.928" v="889" actId="1076"/>
          <ac:spMkLst>
            <pc:docMk/>
            <pc:sldMk cId="659418568" sldId="2147310011"/>
            <ac:spMk id="85" creationId="{A190D0B4-92ED-1A31-8614-795A6D20A889}"/>
          </ac:spMkLst>
        </pc:spChg>
        <pc:spChg chg="mod">
          <ac:chgData name="Mary Cruz Portugal Fernandez" userId="5b2e4939-a7dc-4649-be3a-bb2844e519d6" providerId="ADAL" clId="{8170B20B-0A51-4709-993B-4D1DC2CD127B}" dt="2024-06-17T18:26:13.961" v="870" actId="1076"/>
          <ac:spMkLst>
            <pc:docMk/>
            <pc:sldMk cId="659418568" sldId="2147310011"/>
            <ac:spMk id="87" creationId="{B565D2E5-581F-DB11-AE84-8EF6D06094DA}"/>
          </ac:spMkLst>
        </pc:spChg>
        <pc:spChg chg="mod">
          <ac:chgData name="Mary Cruz Portugal Fernandez" userId="5b2e4939-a7dc-4649-be3a-bb2844e519d6" providerId="ADAL" clId="{8170B20B-0A51-4709-993B-4D1DC2CD127B}" dt="2024-06-17T16:36:06.555" v="780" actId="1076"/>
          <ac:spMkLst>
            <pc:docMk/>
            <pc:sldMk cId="659418568" sldId="2147310011"/>
            <ac:spMk id="88" creationId="{BB64AB28-16D6-AEEE-1F15-73ADB081079C}"/>
          </ac:spMkLst>
        </pc:spChg>
        <pc:spChg chg="mod">
          <ac:chgData name="Mary Cruz Portugal Fernandez" userId="5b2e4939-a7dc-4649-be3a-bb2844e519d6" providerId="ADAL" clId="{8170B20B-0A51-4709-993B-4D1DC2CD127B}" dt="2024-06-17T18:25:57.346" v="866" actId="1076"/>
          <ac:spMkLst>
            <pc:docMk/>
            <pc:sldMk cId="659418568" sldId="2147310011"/>
            <ac:spMk id="89" creationId="{EC857750-AAEC-B371-0D41-2B19DAC5B150}"/>
          </ac:spMkLst>
        </pc:spChg>
        <pc:grpChg chg="mod">
          <ac:chgData name="Mary Cruz Portugal Fernandez" userId="5b2e4939-a7dc-4649-be3a-bb2844e519d6" providerId="ADAL" clId="{8170B20B-0A51-4709-993B-4D1DC2CD127B}" dt="2024-06-17T18:29:54.633" v="914" actId="1076"/>
          <ac:grpSpMkLst>
            <pc:docMk/>
            <pc:sldMk cId="659418568" sldId="2147310011"/>
            <ac:grpSpMk id="15" creationId="{D64C4FA5-BF9B-4CB0-A633-7699FF995123}"/>
          </ac:grpSpMkLst>
        </pc:grpChg>
        <pc:grpChg chg="add mod">
          <ac:chgData name="Mary Cruz Portugal Fernandez" userId="5b2e4939-a7dc-4649-be3a-bb2844e519d6" providerId="ADAL" clId="{8170B20B-0A51-4709-993B-4D1DC2CD127B}" dt="2024-06-17T15:45:02.602" v="520" actId="571"/>
          <ac:grpSpMkLst>
            <pc:docMk/>
            <pc:sldMk cId="659418568" sldId="2147310011"/>
            <ac:grpSpMk id="20" creationId="{1E5619A2-7A1C-3B11-9A4B-8F09D9FA132D}"/>
          </ac:grpSpMkLst>
        </pc:grpChg>
        <pc:grpChg chg="mod">
          <ac:chgData name="Mary Cruz Portugal Fernandez" userId="5b2e4939-a7dc-4649-be3a-bb2844e519d6" providerId="ADAL" clId="{8170B20B-0A51-4709-993B-4D1DC2CD127B}" dt="2024-06-17T18:29:34.297" v="912" actId="1076"/>
          <ac:grpSpMkLst>
            <pc:docMk/>
            <pc:sldMk cId="659418568" sldId="2147310011"/>
            <ac:grpSpMk id="49" creationId="{E66F7FBF-FECD-E554-AD22-C19BBA805E30}"/>
          </ac:grpSpMkLst>
        </pc:grpChg>
        <pc:grpChg chg="mod">
          <ac:chgData name="Mary Cruz Portugal Fernandez" userId="5b2e4939-a7dc-4649-be3a-bb2844e519d6" providerId="ADAL" clId="{8170B20B-0A51-4709-993B-4D1DC2CD127B}" dt="2024-06-17T16:22:29.149" v="693" actId="1076"/>
          <ac:grpSpMkLst>
            <pc:docMk/>
            <pc:sldMk cId="659418568" sldId="2147310011"/>
            <ac:grpSpMk id="71" creationId="{FF7209EA-C8C0-A718-795F-D3F9E618D4F4}"/>
          </ac:grpSpMkLst>
        </pc:grpChg>
        <pc:graphicFrameChg chg="modGraphic">
          <ac:chgData name="Mary Cruz Portugal Fernandez" userId="5b2e4939-a7dc-4649-be3a-bb2844e519d6" providerId="ADAL" clId="{8170B20B-0A51-4709-993B-4D1DC2CD127B}" dt="2024-06-17T16:24:23.958" v="708" actId="20577"/>
          <ac:graphicFrameMkLst>
            <pc:docMk/>
            <pc:sldMk cId="659418568" sldId="2147310011"/>
            <ac:graphicFrameMk id="8" creationId="{269AA73C-52E3-A76D-1E91-03A77131E48B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5:45:02.602" v="520" actId="571"/>
          <ac:graphicFrameMkLst>
            <pc:docMk/>
            <pc:sldMk cId="659418568" sldId="2147310011"/>
            <ac:graphicFrameMk id="11" creationId="{A90BD52F-EF21-8F6D-6F37-C37ECF922031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5:45:02.602" v="520" actId="571"/>
          <ac:graphicFrameMkLst>
            <pc:docMk/>
            <pc:sldMk cId="659418568" sldId="2147310011"/>
            <ac:graphicFrameMk id="12" creationId="{8EBEE562-446A-9AC1-A93F-4F46F78A4B57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5:45:02.602" v="520" actId="571"/>
          <ac:graphicFrameMkLst>
            <pc:docMk/>
            <pc:sldMk cId="659418568" sldId="2147310011"/>
            <ac:graphicFrameMk id="28" creationId="{67686ACF-6E98-C7AF-E4D9-1AD0A8E9607D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6:04:55.121" v="612" actId="571"/>
          <ac:graphicFrameMkLst>
            <pc:docMk/>
            <pc:sldMk cId="659418568" sldId="2147310011"/>
            <ac:graphicFrameMk id="36" creationId="{F0028877-9881-E66D-20F2-FEF06AA6496B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6:05:10.617" v="614" actId="571"/>
          <ac:graphicFrameMkLst>
            <pc:docMk/>
            <pc:sldMk cId="659418568" sldId="2147310011"/>
            <ac:graphicFrameMk id="40" creationId="{2A4F9A0C-BD9D-79A6-425A-19BB910A4F0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29:38.057" v="913" actId="14100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29:58.162" v="915" actId="14100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31:54.428" v="931" actId="20577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19:43.444" v="672" actId="14100"/>
          <ac:graphicFrameMkLst>
            <pc:docMk/>
            <pc:sldMk cId="659418568" sldId="2147310011"/>
            <ac:graphicFrameMk id="96" creationId="{224917DE-B69A-F649-8CCF-3F273E2DFDDC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20:01.901" v="674" actId="14100"/>
          <ac:graphicFrameMkLst>
            <pc:docMk/>
            <pc:sldMk cId="659418568" sldId="2147310011"/>
            <ac:graphicFrameMk id="99" creationId="{F80F6827-4F82-ED23-FE49-7A731F75170B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20:27.917" v="680" actId="14100"/>
          <ac:graphicFrameMkLst>
            <pc:docMk/>
            <pc:sldMk cId="659418568" sldId="2147310011"/>
            <ac:graphicFrameMk id="107" creationId="{017A39C5-03EE-0BE9-0CC0-2447E9BD8116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7:04:33.400" v="795" actId="14734"/>
          <ac:graphicFrameMkLst>
            <pc:docMk/>
            <pc:sldMk cId="659418568" sldId="2147310011"/>
            <ac:graphicFrameMk id="110" creationId="{9AACE07F-CD5C-FD7A-3F14-DE575D3AC3D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20:10.788" v="676" actId="14100"/>
          <ac:graphicFrameMkLst>
            <pc:docMk/>
            <pc:sldMk cId="659418568" sldId="2147310011"/>
            <ac:graphicFrameMk id="121" creationId="{F552A0A9-1624-93C4-9CF1-D68410798AB2}"/>
          </ac:graphicFrameMkLst>
        </pc:graphicFrameChg>
        <pc:cxnChg chg="add 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14" creationId="{00EFD308-5FFB-8068-0BDC-6373684F8CE6}"/>
          </ac:cxnSpMkLst>
        </pc:cxnChg>
        <pc:cxnChg chg="add 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18" creationId="{B5F4E814-CB13-2680-F424-DC2736A4A114}"/>
          </ac:cxnSpMkLst>
        </pc:cxnChg>
        <pc:cxnChg chg="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23" creationId="{E4770E4B-63B0-58F9-610D-30BDF9C7AD50}"/>
          </ac:cxnSpMkLst>
        </pc:cxnChg>
        <pc:cxnChg chg="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25" creationId="{08DA1D15-06CC-E8E5-35E4-29A9719EDC86}"/>
          </ac:cxnSpMkLst>
        </pc:cxnChg>
        <pc:cxnChg chg="mod">
          <ac:chgData name="Mary Cruz Portugal Fernandez" userId="5b2e4939-a7dc-4649-be3a-bb2844e519d6" providerId="ADAL" clId="{8170B20B-0A51-4709-993B-4D1DC2CD127B}" dt="2024-06-17T15:45:02.602" v="520" actId="571"/>
          <ac:cxnSpMkLst>
            <pc:docMk/>
            <pc:sldMk cId="659418568" sldId="2147310011"/>
            <ac:cxnSpMk id="26" creationId="{5FDB603D-F180-B274-B9DD-78D742A57911}"/>
          </ac:cxnSpMkLst>
        </pc:cxnChg>
        <pc:cxnChg chg="mod">
          <ac:chgData name="Mary Cruz Portugal Fernandez" userId="5b2e4939-a7dc-4649-be3a-bb2844e519d6" providerId="ADAL" clId="{8170B20B-0A51-4709-993B-4D1DC2CD127B}" dt="2024-06-17T16:22:29.149" v="693" actId="1076"/>
          <ac:cxnSpMkLst>
            <pc:docMk/>
            <pc:sldMk cId="659418568" sldId="2147310011"/>
            <ac:cxnSpMk id="50" creationId="{AC2C4928-770F-4F0F-ED16-F4DA4132D4BB}"/>
          </ac:cxnSpMkLst>
        </pc:cxnChg>
        <pc:cxnChg chg="mod">
          <ac:chgData name="Mary Cruz Portugal Fernandez" userId="5b2e4939-a7dc-4649-be3a-bb2844e519d6" providerId="ADAL" clId="{8170B20B-0A51-4709-993B-4D1DC2CD127B}" dt="2024-06-17T16:22:29.149" v="693" actId="1076"/>
          <ac:cxnSpMkLst>
            <pc:docMk/>
            <pc:sldMk cId="659418568" sldId="2147310011"/>
            <ac:cxnSpMk id="51" creationId="{C206E334-3B8E-C988-A1A2-955D965AC5FD}"/>
          </ac:cxnSpMkLst>
        </pc:cxnChg>
        <pc:cxnChg chg="mod">
          <ac:chgData name="Mary Cruz Portugal Fernandez" userId="5b2e4939-a7dc-4649-be3a-bb2844e519d6" providerId="ADAL" clId="{8170B20B-0A51-4709-993B-4D1DC2CD127B}" dt="2024-06-17T18:29:34.297" v="912" actId="1076"/>
          <ac:cxnSpMkLst>
            <pc:docMk/>
            <pc:sldMk cId="659418568" sldId="2147310011"/>
            <ac:cxnSpMk id="62" creationId="{7B36099A-E565-13EE-8397-B196138F5BA3}"/>
          </ac:cxnSpMkLst>
        </pc:cxnChg>
        <pc:cxnChg chg="mod">
          <ac:chgData name="Mary Cruz Portugal Fernandez" userId="5b2e4939-a7dc-4649-be3a-bb2844e519d6" providerId="ADAL" clId="{8170B20B-0A51-4709-993B-4D1DC2CD127B}" dt="2024-06-17T18:29:54.633" v="914" actId="1076"/>
          <ac:cxnSpMkLst>
            <pc:docMk/>
            <pc:sldMk cId="659418568" sldId="2147310011"/>
            <ac:cxnSpMk id="73" creationId="{3697CCAC-0E37-6A28-ED96-031DCEA4FC70}"/>
          </ac:cxnSpMkLst>
        </pc:cxnChg>
      </pc:sldChg>
      <pc:sldChg chg="addSp delSp modSp mod">
        <pc:chgData name="Mary Cruz Portugal Fernandez" userId="5b2e4939-a7dc-4649-be3a-bb2844e519d6" providerId="ADAL" clId="{8170B20B-0A51-4709-993B-4D1DC2CD127B}" dt="2024-06-17T18:39:46.825" v="970" actId="1076"/>
        <pc:sldMkLst>
          <pc:docMk/>
          <pc:sldMk cId="1253964456" sldId="2147310012"/>
        </pc:sldMkLst>
        <pc:spChg chg="del mod">
          <ac:chgData name="Mary Cruz Portugal Fernandez" userId="5b2e4939-a7dc-4649-be3a-bb2844e519d6" providerId="ADAL" clId="{8170B20B-0A51-4709-993B-4D1DC2CD127B}" dt="2024-06-17T16:25:26.034" v="725" actId="478"/>
          <ac:spMkLst>
            <pc:docMk/>
            <pc:sldMk cId="1253964456" sldId="2147310012"/>
            <ac:spMk id="3" creationId="{0309D7BA-45C7-21A3-75AC-0B45EA0CF384}"/>
          </ac:spMkLst>
        </pc:spChg>
        <pc:spChg chg="mod">
          <ac:chgData name="Mary Cruz Portugal Fernandez" userId="5b2e4939-a7dc-4649-be3a-bb2844e519d6" providerId="ADAL" clId="{8170B20B-0A51-4709-993B-4D1DC2CD127B}" dt="2024-06-17T18:39:17.673" v="965" actId="1076"/>
          <ac:spMkLst>
            <pc:docMk/>
            <pc:sldMk cId="1253964456" sldId="2147310012"/>
            <ac:spMk id="4" creationId="{4CFB68E7-01DD-37B7-6A57-4F8E9D57FA4A}"/>
          </ac:spMkLst>
        </pc:spChg>
        <pc:spChg chg="add mod">
          <ac:chgData name="Mary Cruz Portugal Fernandez" userId="5b2e4939-a7dc-4649-be3a-bb2844e519d6" providerId="ADAL" clId="{8170B20B-0A51-4709-993B-4D1DC2CD127B}" dt="2024-06-17T16:26:57.052" v="738" actId="1076"/>
          <ac:spMkLst>
            <pc:docMk/>
            <pc:sldMk cId="1253964456" sldId="2147310012"/>
            <ac:spMk id="5" creationId="{48DAB168-CA47-7A1A-6D09-D18BDA83EA74}"/>
          </ac:spMkLst>
        </pc:spChg>
        <pc:spChg chg="mod">
          <ac:chgData name="Mary Cruz Portugal Fernandez" userId="5b2e4939-a7dc-4649-be3a-bb2844e519d6" providerId="ADAL" clId="{8170B20B-0A51-4709-993B-4D1DC2CD127B}" dt="2024-06-17T18:39:25.227" v="967" actId="14100"/>
          <ac:spMkLst>
            <pc:docMk/>
            <pc:sldMk cId="1253964456" sldId="2147310012"/>
            <ac:spMk id="8" creationId="{48FA6392-943C-70EF-9D32-01F15962CFC3}"/>
          </ac:spMkLst>
        </pc:spChg>
        <pc:spChg chg="mod">
          <ac:chgData name="Mary Cruz Portugal Fernandez" userId="5b2e4939-a7dc-4649-be3a-bb2844e519d6" providerId="ADAL" clId="{8170B20B-0A51-4709-993B-4D1DC2CD127B}" dt="2024-06-17T18:39:22.279" v="966" actId="1076"/>
          <ac:spMkLst>
            <pc:docMk/>
            <pc:sldMk cId="1253964456" sldId="2147310012"/>
            <ac:spMk id="10" creationId="{69FB36FE-1D00-899A-FA20-C8453DA91FDE}"/>
          </ac:spMkLst>
        </pc:spChg>
        <pc:spChg chg="mod">
          <ac:chgData name="Mary Cruz Portugal Fernandez" userId="5b2e4939-a7dc-4649-be3a-bb2844e519d6" providerId="ADAL" clId="{8170B20B-0A51-4709-993B-4D1DC2CD127B}" dt="2024-06-17T18:39:22.279" v="966" actId="1076"/>
          <ac:spMkLst>
            <pc:docMk/>
            <pc:sldMk cId="1253964456" sldId="2147310012"/>
            <ac:spMk id="11" creationId="{49ED0FCD-5613-96D5-076D-A718AB6A8B28}"/>
          </ac:spMkLst>
        </pc:spChg>
        <pc:spChg chg="add mod">
          <ac:chgData name="Mary Cruz Portugal Fernandez" userId="5b2e4939-a7dc-4649-be3a-bb2844e519d6" providerId="ADAL" clId="{8170B20B-0A51-4709-993B-4D1DC2CD127B}" dt="2024-06-17T16:29:27.531" v="749"/>
          <ac:spMkLst>
            <pc:docMk/>
            <pc:sldMk cId="1253964456" sldId="2147310012"/>
            <ac:spMk id="13" creationId="{E35232E0-AD66-49BF-D5D9-A75C58511A5F}"/>
          </ac:spMkLst>
        </pc:spChg>
        <pc:spChg chg="add del mod">
          <ac:chgData name="Mary Cruz Portugal Fernandez" userId="5b2e4939-a7dc-4649-be3a-bb2844e519d6" providerId="ADAL" clId="{8170B20B-0A51-4709-993B-4D1DC2CD127B}" dt="2024-06-17T16:25:59.012" v="731" actId="478"/>
          <ac:spMkLst>
            <pc:docMk/>
            <pc:sldMk cId="1253964456" sldId="2147310012"/>
            <ac:spMk id="13" creationId="{EAEF10F7-76B3-1B76-1063-B515D94117C1}"/>
          </ac:spMkLst>
        </pc:spChg>
        <pc:spChg chg="add del mod">
          <ac:chgData name="Mary Cruz Portugal Fernandez" userId="5b2e4939-a7dc-4649-be3a-bb2844e519d6" providerId="ADAL" clId="{8170B20B-0A51-4709-993B-4D1DC2CD127B}" dt="2024-06-17T16:25:58.044" v="730" actId="478"/>
          <ac:spMkLst>
            <pc:docMk/>
            <pc:sldMk cId="1253964456" sldId="2147310012"/>
            <ac:spMk id="14" creationId="{6F871155-80C5-814E-0CA2-484181E0904C}"/>
          </ac:spMkLst>
        </pc:spChg>
        <pc:spChg chg="mod">
          <ac:chgData name="Mary Cruz Portugal Fernandez" userId="5b2e4939-a7dc-4649-be3a-bb2844e519d6" providerId="ADAL" clId="{8170B20B-0A51-4709-993B-4D1DC2CD127B}" dt="2024-06-17T18:39:46.825" v="970" actId="1076"/>
          <ac:spMkLst>
            <pc:docMk/>
            <pc:sldMk cId="1253964456" sldId="2147310012"/>
            <ac:spMk id="15" creationId="{D73CFB90-4150-B4F8-851D-EC3B542C1969}"/>
          </ac:spMkLst>
        </pc:spChg>
        <pc:spChg chg="add del mod">
          <ac:chgData name="Mary Cruz Portugal Fernandez" userId="5b2e4939-a7dc-4649-be3a-bb2844e519d6" providerId="ADAL" clId="{8170B20B-0A51-4709-993B-4D1DC2CD127B}" dt="2024-06-17T16:25:57.264" v="729" actId="478"/>
          <ac:spMkLst>
            <pc:docMk/>
            <pc:sldMk cId="1253964456" sldId="2147310012"/>
            <ac:spMk id="16" creationId="{0DA9AA66-8517-396C-E1FE-A33F89022B90}"/>
          </ac:spMkLst>
        </pc:spChg>
        <pc:spChg chg="add mod">
          <ac:chgData name="Mary Cruz Portugal Fernandez" userId="5b2e4939-a7dc-4649-be3a-bb2844e519d6" providerId="ADAL" clId="{8170B20B-0A51-4709-993B-4D1DC2CD127B}" dt="2024-06-17T16:29:40.810" v="751" actId="571"/>
          <ac:spMkLst>
            <pc:docMk/>
            <pc:sldMk cId="1253964456" sldId="2147310012"/>
            <ac:spMk id="16" creationId="{BC7A866E-1D16-A81C-6EAC-921262937887}"/>
          </ac:spMkLst>
        </pc:spChg>
        <pc:spChg chg="mod">
          <ac:chgData name="Mary Cruz Portugal Fernandez" userId="5b2e4939-a7dc-4649-be3a-bb2844e519d6" providerId="ADAL" clId="{8170B20B-0A51-4709-993B-4D1DC2CD127B}" dt="2024-06-17T18:36:31.727" v="945" actId="1076"/>
          <ac:spMkLst>
            <pc:docMk/>
            <pc:sldMk cId="1253964456" sldId="2147310012"/>
            <ac:spMk id="17" creationId="{89FE72E6-6CF0-FA38-C541-ACF691A16BEC}"/>
          </ac:spMkLst>
        </pc:spChg>
        <pc:spChg chg="add mod">
          <ac:chgData name="Mary Cruz Portugal Fernandez" userId="5b2e4939-a7dc-4649-be3a-bb2844e519d6" providerId="ADAL" clId="{8170B20B-0A51-4709-993B-4D1DC2CD127B}" dt="2024-06-17T16:27:19.219" v="741" actId="12788"/>
          <ac:spMkLst>
            <pc:docMk/>
            <pc:sldMk cId="1253964456" sldId="2147310012"/>
            <ac:spMk id="18" creationId="{77C32F1A-29C2-DE7B-D50C-3536E4CC178D}"/>
          </ac:spMkLst>
        </pc:spChg>
        <pc:spChg chg="mod">
          <ac:chgData name="Mary Cruz Portugal Fernandez" userId="5b2e4939-a7dc-4649-be3a-bb2844e519d6" providerId="ADAL" clId="{8170B20B-0A51-4709-993B-4D1DC2CD127B}" dt="2024-06-17T18:39:22.279" v="966" actId="1076"/>
          <ac:spMkLst>
            <pc:docMk/>
            <pc:sldMk cId="1253964456" sldId="2147310012"/>
            <ac:spMk id="19" creationId="{758D576D-F9E2-9621-8DEB-E1A178609AC3}"/>
          </ac:spMkLst>
        </pc:spChg>
        <pc:spChg chg="mod">
          <ac:chgData name="Mary Cruz Portugal Fernandez" userId="5b2e4939-a7dc-4649-be3a-bb2844e519d6" providerId="ADAL" clId="{8170B20B-0A51-4709-993B-4D1DC2CD127B}" dt="2024-06-17T18:36:38.048" v="946" actId="1076"/>
          <ac:spMkLst>
            <pc:docMk/>
            <pc:sldMk cId="1253964456" sldId="2147310012"/>
            <ac:spMk id="20" creationId="{FD4D415A-C477-B865-AF31-DE2AA49DE10E}"/>
          </ac:spMkLst>
        </pc:spChg>
        <pc:spChg chg="add mod">
          <ac:chgData name="Mary Cruz Portugal Fernandez" userId="5b2e4939-a7dc-4649-be3a-bb2844e519d6" providerId="ADAL" clId="{8170B20B-0A51-4709-993B-4D1DC2CD127B}" dt="2024-06-17T16:30:46.349" v="758" actId="1076"/>
          <ac:spMkLst>
            <pc:docMk/>
            <pc:sldMk cId="1253964456" sldId="2147310012"/>
            <ac:spMk id="21" creationId="{A85B9687-BEC9-9B58-B8EA-65EF5E693C1F}"/>
          </ac:spMkLst>
        </pc:spChg>
        <pc:spChg chg="mod">
          <ac:chgData name="Mary Cruz Portugal Fernandez" userId="5b2e4939-a7dc-4649-be3a-bb2844e519d6" providerId="ADAL" clId="{8170B20B-0A51-4709-993B-4D1DC2CD127B}" dt="2024-06-17T16:24:40.884" v="709" actId="1076"/>
          <ac:spMkLst>
            <pc:docMk/>
            <pc:sldMk cId="1253964456" sldId="2147310012"/>
            <ac:spMk id="21" creationId="{C6F21A8A-0B5E-5FF0-B674-CF0F8A01450A}"/>
          </ac:spMkLst>
        </pc:spChg>
        <pc:spChg chg="add mod">
          <ac:chgData name="Mary Cruz Portugal Fernandez" userId="5b2e4939-a7dc-4649-be3a-bb2844e519d6" providerId="ADAL" clId="{8170B20B-0A51-4709-993B-4D1DC2CD127B}" dt="2024-06-17T16:27:19.219" v="741" actId="12788"/>
          <ac:spMkLst>
            <pc:docMk/>
            <pc:sldMk cId="1253964456" sldId="2147310012"/>
            <ac:spMk id="22" creationId="{403B77AA-A676-E5E6-D09D-2CAE8035CAB0}"/>
          </ac:spMkLst>
        </pc:spChg>
        <pc:spChg chg="add del mod">
          <ac:chgData name="Mary Cruz Portugal Fernandez" userId="5b2e4939-a7dc-4649-be3a-bb2844e519d6" providerId="ADAL" clId="{8170B20B-0A51-4709-993B-4D1DC2CD127B}" dt="2024-06-17T16:25:56.551" v="728" actId="478"/>
          <ac:spMkLst>
            <pc:docMk/>
            <pc:sldMk cId="1253964456" sldId="2147310012"/>
            <ac:spMk id="23" creationId="{A2C544F0-3FB6-E803-D80C-EEB774FA6DA1}"/>
          </ac:spMkLst>
        </pc:spChg>
        <pc:spChg chg="add mod">
          <ac:chgData name="Mary Cruz Portugal Fernandez" userId="5b2e4939-a7dc-4649-be3a-bb2844e519d6" providerId="ADAL" clId="{8170B20B-0A51-4709-993B-4D1DC2CD127B}" dt="2024-06-17T16:26:09.660" v="732" actId="1076"/>
          <ac:spMkLst>
            <pc:docMk/>
            <pc:sldMk cId="1253964456" sldId="2147310012"/>
            <ac:spMk id="25" creationId="{6085441D-EF52-5BEB-C259-190D80EDED93}"/>
          </ac:spMkLst>
        </pc:spChg>
        <pc:spChg chg="add mod">
          <ac:chgData name="Mary Cruz Portugal Fernandez" userId="5b2e4939-a7dc-4649-be3a-bb2844e519d6" providerId="ADAL" clId="{8170B20B-0A51-4709-993B-4D1DC2CD127B}" dt="2024-06-17T16:26:09.660" v="732" actId="1076"/>
          <ac:spMkLst>
            <pc:docMk/>
            <pc:sldMk cId="1253964456" sldId="2147310012"/>
            <ac:spMk id="27" creationId="{00686711-8536-57F1-D27C-A58A0AD9C917}"/>
          </ac:spMkLst>
        </pc:spChg>
        <pc:spChg chg="mod">
          <ac:chgData name="Mary Cruz Portugal Fernandez" userId="5b2e4939-a7dc-4649-be3a-bb2844e519d6" providerId="ADAL" clId="{8170B20B-0A51-4709-993B-4D1DC2CD127B}" dt="2024-06-17T18:39:17.673" v="965" actId="1076"/>
          <ac:spMkLst>
            <pc:docMk/>
            <pc:sldMk cId="1253964456" sldId="2147310012"/>
            <ac:spMk id="28" creationId="{71384855-0396-A9B4-27BE-26F7E46581BD}"/>
          </ac:spMkLst>
        </pc:spChg>
        <pc:spChg chg="mod">
          <ac:chgData name="Mary Cruz Portugal Fernandez" userId="5b2e4939-a7dc-4649-be3a-bb2844e519d6" providerId="ADAL" clId="{8170B20B-0A51-4709-993B-4D1DC2CD127B}" dt="2024-06-17T18:39:22.279" v="966" actId="1076"/>
          <ac:spMkLst>
            <pc:docMk/>
            <pc:sldMk cId="1253964456" sldId="2147310012"/>
            <ac:spMk id="29" creationId="{6B3361AF-38C6-2BB3-EBD1-85509DB8CC4E}"/>
          </ac:spMkLst>
        </pc:spChg>
        <pc:spChg chg="add mod">
          <ac:chgData name="Mary Cruz Portugal Fernandez" userId="5b2e4939-a7dc-4649-be3a-bb2844e519d6" providerId="ADAL" clId="{8170B20B-0A51-4709-993B-4D1DC2CD127B}" dt="2024-06-17T16:26:09.660" v="732" actId="1076"/>
          <ac:spMkLst>
            <pc:docMk/>
            <pc:sldMk cId="1253964456" sldId="2147310012"/>
            <ac:spMk id="30" creationId="{8D8F0E0F-04A9-D144-42A8-98AC67604FA6}"/>
          </ac:spMkLst>
        </pc:spChg>
        <pc:spChg chg="add mod">
          <ac:chgData name="Mary Cruz Portugal Fernandez" userId="5b2e4939-a7dc-4649-be3a-bb2844e519d6" providerId="ADAL" clId="{8170B20B-0A51-4709-993B-4D1DC2CD127B}" dt="2024-06-17T16:27:19.219" v="741" actId="12788"/>
          <ac:spMkLst>
            <pc:docMk/>
            <pc:sldMk cId="1253964456" sldId="2147310012"/>
            <ac:spMk id="35" creationId="{372F100C-12F7-B77A-424A-C1401AE7E5E7}"/>
          </ac:spMkLst>
        </pc:spChg>
        <pc:spChg chg="add mod ord">
          <ac:chgData name="Mary Cruz Portugal Fernandez" userId="5b2e4939-a7dc-4649-be3a-bb2844e519d6" providerId="ADAL" clId="{8170B20B-0A51-4709-993B-4D1DC2CD127B}" dt="2024-06-17T16:30:42.811" v="757" actId="1076"/>
          <ac:spMkLst>
            <pc:docMk/>
            <pc:sldMk cId="1253964456" sldId="2147310012"/>
            <ac:spMk id="36" creationId="{38784FE4-415D-1D07-DDA1-CBB7E1D2688D}"/>
          </ac:spMkLst>
        </pc:spChg>
        <pc:spChg chg="add mod">
          <ac:chgData name="Mary Cruz Portugal Fernandez" userId="5b2e4939-a7dc-4649-be3a-bb2844e519d6" providerId="ADAL" clId="{8170B20B-0A51-4709-993B-4D1DC2CD127B}" dt="2024-06-17T16:27:19.219" v="741" actId="12788"/>
          <ac:spMkLst>
            <pc:docMk/>
            <pc:sldMk cId="1253964456" sldId="2147310012"/>
            <ac:spMk id="37" creationId="{900934D2-3D73-893D-F606-5EAAE57BA73F}"/>
          </ac:spMkLst>
        </pc:spChg>
        <pc:spChg chg="mod">
          <ac:chgData name="Mary Cruz Portugal Fernandez" userId="5b2e4939-a7dc-4649-be3a-bb2844e519d6" providerId="ADAL" clId="{8170B20B-0A51-4709-993B-4D1DC2CD127B}" dt="2024-06-17T18:39:38.330" v="969" actId="14100"/>
          <ac:spMkLst>
            <pc:docMk/>
            <pc:sldMk cId="1253964456" sldId="2147310012"/>
            <ac:spMk id="52" creationId="{D3025A42-AB12-02DF-F704-5ED0E025B12F}"/>
          </ac:spMkLst>
        </pc:spChg>
        <pc:spChg chg="mod">
          <ac:chgData name="Mary Cruz Portugal Fernandez" userId="5b2e4939-a7dc-4649-be3a-bb2844e519d6" providerId="ADAL" clId="{8170B20B-0A51-4709-993B-4D1DC2CD127B}" dt="2024-06-17T18:39:35.360" v="968" actId="1076"/>
          <ac:spMkLst>
            <pc:docMk/>
            <pc:sldMk cId="1253964456" sldId="2147310012"/>
            <ac:spMk id="53" creationId="{FA42AA40-A391-EC6A-40D7-8F46A9ED8DE4}"/>
          </ac:spMkLst>
        </pc:spChg>
        <pc:spChg chg="mod">
          <ac:chgData name="Mary Cruz Portugal Fernandez" userId="5b2e4939-a7dc-4649-be3a-bb2844e519d6" providerId="ADAL" clId="{8170B20B-0A51-4709-993B-4D1DC2CD127B}" dt="2024-06-17T18:39:46.825" v="970" actId="1076"/>
          <ac:spMkLst>
            <pc:docMk/>
            <pc:sldMk cId="1253964456" sldId="2147310012"/>
            <ac:spMk id="84" creationId="{347D0B40-3392-930E-7DBF-F067662C0920}"/>
          </ac:spMkLst>
        </pc:spChg>
        <pc:spChg chg="mod">
          <ac:chgData name="Mary Cruz Portugal Fernandez" userId="5b2e4939-a7dc-4649-be3a-bb2844e519d6" providerId="ADAL" clId="{8170B20B-0A51-4709-993B-4D1DC2CD127B}" dt="2024-06-17T18:39:46.825" v="970" actId="1076"/>
          <ac:spMkLst>
            <pc:docMk/>
            <pc:sldMk cId="1253964456" sldId="2147310012"/>
            <ac:spMk id="85" creationId="{A190D0B4-92ED-1A31-8614-795A6D20A889}"/>
          </ac:spMkLst>
        </pc:spChg>
        <pc:spChg chg="mod ord">
          <ac:chgData name="Mary Cruz Portugal Fernandez" userId="5b2e4939-a7dc-4649-be3a-bb2844e519d6" providerId="ADAL" clId="{8170B20B-0A51-4709-993B-4D1DC2CD127B}" dt="2024-06-17T16:30:37.109" v="756" actId="1076"/>
          <ac:spMkLst>
            <pc:docMk/>
            <pc:sldMk cId="1253964456" sldId="2147310012"/>
            <ac:spMk id="90" creationId="{2BADC4E7-27AD-6A10-73C2-090717941792}"/>
          </ac:spMkLst>
        </pc:spChg>
        <pc:spChg chg="mod ord">
          <ac:chgData name="Mary Cruz Portugal Fernandez" userId="5b2e4939-a7dc-4649-be3a-bb2844e519d6" providerId="ADAL" clId="{8170B20B-0A51-4709-993B-4D1DC2CD127B}" dt="2024-06-17T16:29:57.320" v="754" actId="170"/>
          <ac:spMkLst>
            <pc:docMk/>
            <pc:sldMk cId="1253964456" sldId="2147310012"/>
            <ac:spMk id="91" creationId="{689F2D87-D76C-FE65-7AAA-D58A9B42F81C}"/>
          </ac:spMkLst>
        </pc:spChg>
        <pc:spChg chg="mod ord">
          <ac:chgData name="Mary Cruz Portugal Fernandez" userId="5b2e4939-a7dc-4649-be3a-bb2844e519d6" providerId="ADAL" clId="{8170B20B-0A51-4709-993B-4D1DC2CD127B}" dt="2024-06-17T16:30:32.315" v="755" actId="1076"/>
          <ac:spMkLst>
            <pc:docMk/>
            <pc:sldMk cId="1253964456" sldId="2147310012"/>
            <ac:spMk id="92" creationId="{804341AA-E23E-036D-8AF9-71B8B8DF5B18}"/>
          </ac:spMkLst>
        </pc:spChg>
        <pc:spChg chg="mod">
          <ac:chgData name="Mary Cruz Portugal Fernandez" userId="5b2e4939-a7dc-4649-be3a-bb2844e519d6" providerId="ADAL" clId="{8170B20B-0A51-4709-993B-4D1DC2CD127B}" dt="2024-06-17T16:26:39.358" v="735" actId="1076"/>
          <ac:spMkLst>
            <pc:docMk/>
            <pc:sldMk cId="1253964456" sldId="2147310012"/>
            <ac:spMk id="96" creationId="{8EA4C716-8252-C001-0A26-13CC05F1E324}"/>
          </ac:spMkLst>
        </pc:spChg>
        <pc:spChg chg="mod">
          <ac:chgData name="Mary Cruz Portugal Fernandez" userId="5b2e4939-a7dc-4649-be3a-bb2844e519d6" providerId="ADAL" clId="{8170B20B-0A51-4709-993B-4D1DC2CD127B}" dt="2024-06-17T16:26:39.358" v="735" actId="1076"/>
          <ac:spMkLst>
            <pc:docMk/>
            <pc:sldMk cId="1253964456" sldId="2147310012"/>
            <ac:spMk id="99" creationId="{EBF963D8-1313-EC79-EAEF-C30FC38B1533}"/>
          </ac:spMkLst>
        </pc:spChg>
        <pc:spChg chg="mod">
          <ac:chgData name="Mary Cruz Portugal Fernandez" userId="5b2e4939-a7dc-4649-be3a-bb2844e519d6" providerId="ADAL" clId="{8170B20B-0A51-4709-993B-4D1DC2CD127B}" dt="2024-06-17T16:26:39.358" v="735" actId="1076"/>
          <ac:spMkLst>
            <pc:docMk/>
            <pc:sldMk cId="1253964456" sldId="2147310012"/>
            <ac:spMk id="102" creationId="{1E76F502-F8DF-9C86-5C38-071ED4CEDA09}"/>
          </ac:spMkLst>
        </pc:spChg>
        <pc:spChg chg="mod">
          <ac:chgData name="Mary Cruz Portugal Fernandez" userId="5b2e4939-a7dc-4649-be3a-bb2844e519d6" providerId="ADAL" clId="{8170B20B-0A51-4709-993B-4D1DC2CD127B}" dt="2024-06-17T16:26:39.358" v="735" actId="1076"/>
          <ac:spMkLst>
            <pc:docMk/>
            <pc:sldMk cId="1253964456" sldId="2147310012"/>
            <ac:spMk id="105" creationId="{A0B213D8-7848-9AD9-A580-6A4B0DE69B9B}"/>
          </ac:spMkLst>
        </pc:spChg>
        <pc:spChg chg="mod">
          <ac:chgData name="Mary Cruz Portugal Fernandez" userId="5b2e4939-a7dc-4649-be3a-bb2844e519d6" providerId="ADAL" clId="{8170B20B-0A51-4709-993B-4D1DC2CD127B}" dt="2024-06-17T16:26:57.052" v="738" actId="1076"/>
          <ac:spMkLst>
            <pc:docMk/>
            <pc:sldMk cId="1253964456" sldId="2147310012"/>
            <ac:spMk id="112" creationId="{2B09B942-8A85-52A9-0BEF-97E73607201B}"/>
          </ac:spMkLst>
        </pc:spChg>
        <pc:spChg chg="mod">
          <ac:chgData name="Mary Cruz Portugal Fernandez" userId="5b2e4939-a7dc-4649-be3a-bb2844e519d6" providerId="ADAL" clId="{8170B20B-0A51-4709-993B-4D1DC2CD127B}" dt="2024-06-17T16:26:57.052" v="738" actId="1076"/>
          <ac:spMkLst>
            <pc:docMk/>
            <pc:sldMk cId="1253964456" sldId="2147310012"/>
            <ac:spMk id="113" creationId="{72423B9A-B2FB-21EE-2B7E-123569111A12}"/>
          </ac:spMkLst>
        </pc:spChg>
        <pc:spChg chg="mod">
          <ac:chgData name="Mary Cruz Portugal Fernandez" userId="5b2e4939-a7dc-4649-be3a-bb2844e519d6" providerId="ADAL" clId="{8170B20B-0A51-4709-993B-4D1DC2CD127B}" dt="2024-06-17T16:26:57.052" v="738" actId="1076"/>
          <ac:spMkLst>
            <pc:docMk/>
            <pc:sldMk cId="1253964456" sldId="2147310012"/>
            <ac:spMk id="114" creationId="{9F69E6E8-C0CD-BC4D-2653-4103F84B47BF}"/>
          </ac:spMkLst>
        </pc:spChg>
        <pc:spChg chg="del">
          <ac:chgData name="Mary Cruz Portugal Fernandez" userId="5b2e4939-a7dc-4649-be3a-bb2844e519d6" providerId="ADAL" clId="{8170B20B-0A51-4709-993B-4D1DC2CD127B}" dt="2024-06-11T17:25:53.503" v="460" actId="478"/>
          <ac:spMkLst>
            <pc:docMk/>
            <pc:sldMk cId="1253964456" sldId="2147310012"/>
            <ac:spMk id="115" creationId="{DDAC1D9E-968B-35DD-9864-9BDA09E6D3F4}"/>
          </ac:spMkLst>
        </pc:spChg>
        <pc:spChg chg="mod">
          <ac:chgData name="Mary Cruz Portugal Fernandez" userId="5b2e4939-a7dc-4649-be3a-bb2844e519d6" providerId="ADAL" clId="{8170B20B-0A51-4709-993B-4D1DC2CD127B}" dt="2024-06-17T16:26:18.167" v="733" actId="1076"/>
          <ac:spMkLst>
            <pc:docMk/>
            <pc:sldMk cId="1253964456" sldId="2147310012"/>
            <ac:spMk id="129" creationId="{996F2D96-A43F-790A-554B-B4ACB3E5A9B9}"/>
          </ac:spMkLst>
        </pc:spChg>
        <pc:spChg chg="mod">
          <ac:chgData name="Mary Cruz Portugal Fernandez" userId="5b2e4939-a7dc-4649-be3a-bb2844e519d6" providerId="ADAL" clId="{8170B20B-0A51-4709-993B-4D1DC2CD127B}" dt="2024-06-17T16:26:18.167" v="733" actId="1076"/>
          <ac:spMkLst>
            <pc:docMk/>
            <pc:sldMk cId="1253964456" sldId="2147310012"/>
            <ac:spMk id="130" creationId="{3F7FD92E-F0E8-6B43-F536-BA2ACB253A49}"/>
          </ac:spMkLst>
        </pc:spChg>
        <pc:spChg chg="mod">
          <ac:chgData name="Mary Cruz Portugal Fernandez" userId="5b2e4939-a7dc-4649-be3a-bb2844e519d6" providerId="ADAL" clId="{8170B20B-0A51-4709-993B-4D1DC2CD127B}" dt="2024-06-17T16:26:18.167" v="733" actId="1076"/>
          <ac:spMkLst>
            <pc:docMk/>
            <pc:sldMk cId="1253964456" sldId="2147310012"/>
            <ac:spMk id="131" creationId="{554A0CCA-FF67-EFC8-E280-E4334E84600B}"/>
          </ac:spMkLst>
        </pc:spChg>
        <pc:grpChg chg="mod">
          <ac:chgData name="Mary Cruz Portugal Fernandez" userId="5b2e4939-a7dc-4649-be3a-bb2844e519d6" providerId="ADAL" clId="{8170B20B-0A51-4709-993B-4D1DC2CD127B}" dt="2024-06-17T16:31:03.779" v="759" actId="1076"/>
          <ac:grpSpMkLst>
            <pc:docMk/>
            <pc:sldMk cId="1253964456" sldId="2147310012"/>
            <ac:grpSpMk id="71" creationId="{FF7209EA-C8C0-A718-795F-D3F9E618D4F4}"/>
          </ac:grpSpMkLst>
        </pc:grpChg>
        <pc:graphicFrameChg chg="add mod">
          <ac:chgData name="Mary Cruz Portugal Fernandez" userId="5b2e4939-a7dc-4649-be3a-bb2844e519d6" providerId="ADAL" clId="{8170B20B-0A51-4709-993B-4D1DC2CD127B}" dt="2024-06-17T16:29:27.531" v="749"/>
          <ac:graphicFrameMkLst>
            <pc:docMk/>
            <pc:sldMk cId="1253964456" sldId="2147310012"/>
            <ac:graphicFrameMk id="3" creationId="{0292FC47-D078-B970-822C-6D82F6208D7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41:32.859" v="786" actId="1076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add mod">
          <ac:chgData name="Mary Cruz Portugal Fernandez" userId="5b2e4939-a7dc-4649-be3a-bb2844e519d6" providerId="ADAL" clId="{8170B20B-0A51-4709-993B-4D1DC2CD127B}" dt="2024-06-17T16:29:40.810" v="751" actId="571"/>
          <ac:graphicFrameMkLst>
            <pc:docMk/>
            <pc:sldMk cId="1253964456" sldId="2147310012"/>
            <ac:graphicFrameMk id="14" creationId="{84BBB724-5A54-6555-BC37-9E769E0EA887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38:12.390" v="960" actId="255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8:39:06.107" v="964" actId="14734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25:23.057" v="724" actId="14100"/>
          <ac:graphicFrameMkLst>
            <pc:docMk/>
            <pc:sldMk cId="1253964456" sldId="2147310012"/>
            <ac:graphicFrameMk id="76" creationId="{77FF5062-77FE-063A-F3BF-E3BDA886374A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7:04:06.257" v="792" actId="14734"/>
          <ac:graphicFrameMkLst>
            <pc:docMk/>
            <pc:sldMk cId="1253964456" sldId="2147310012"/>
            <ac:graphicFrameMk id="79" creationId="{AE610A2F-1113-208E-6D2C-74575A226BCE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26:46.508" v="737" actId="1076"/>
          <ac:graphicFrameMkLst>
            <pc:docMk/>
            <pc:sldMk cId="1253964456" sldId="2147310012"/>
            <ac:graphicFrameMk id="93" creationId="{FC23B43C-5CDE-E746-BB68-17DF76019E26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29:23.815" v="748" actId="20577"/>
          <ac:graphicFrameMkLst>
            <pc:docMk/>
            <pc:sldMk cId="1253964456" sldId="2147310012"/>
            <ac:graphicFrameMk id="116" creationId="{3A0C57E6-135A-4CDE-2036-FCFC5749E4BD}"/>
          </ac:graphicFrameMkLst>
        </pc:graphicFrameChg>
        <pc:cxnChg chg="mod">
          <ac:chgData name="Mary Cruz Portugal Fernandez" userId="5b2e4939-a7dc-4649-be3a-bb2844e519d6" providerId="ADAL" clId="{8170B20B-0A51-4709-993B-4D1DC2CD127B}" dt="2024-06-17T18:39:35.360" v="968" actId="1076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Mary Cruz Portugal Fernandez" userId="5b2e4939-a7dc-4649-be3a-bb2844e519d6" providerId="ADAL" clId="{8170B20B-0A51-4709-993B-4D1DC2CD127B}" dt="2024-06-17T18:39:35.360" v="968" actId="1076"/>
          <ac:cxnSpMkLst>
            <pc:docMk/>
            <pc:sldMk cId="1253964456" sldId="2147310012"/>
            <ac:cxnSpMk id="26" creationId="{BAFC660C-DB27-024A-8264-141ACA3FE584}"/>
          </ac:cxnSpMkLst>
        </pc:cxnChg>
        <pc:cxnChg chg="mod">
          <ac:chgData name="Mary Cruz Portugal Fernandez" userId="5b2e4939-a7dc-4649-be3a-bb2844e519d6" providerId="ADAL" clId="{8170B20B-0A51-4709-993B-4D1DC2CD127B}" dt="2024-06-17T16:31:03.779" v="759" actId="1076"/>
          <ac:cxnSpMkLst>
            <pc:docMk/>
            <pc:sldMk cId="1253964456" sldId="2147310012"/>
            <ac:cxnSpMk id="51" creationId="{C206E334-3B8E-C988-A1A2-955D965AC5FD}"/>
          </ac:cxnSpMkLst>
        </pc:cxnChg>
      </pc:sldChg>
      <pc:sldChg chg="addSp delSp modSp mod delAnim modAnim">
        <pc:chgData name="Mary Cruz Portugal Fernandez" userId="5b2e4939-a7dc-4649-be3a-bb2844e519d6" providerId="ADAL" clId="{8170B20B-0A51-4709-993B-4D1DC2CD127B}" dt="2024-06-17T19:03:08.047" v="1002" actId="14100"/>
        <pc:sldMkLst>
          <pc:docMk/>
          <pc:sldMk cId="3220162634" sldId="2147310013"/>
        </pc:sldMkLst>
        <pc:spChg chg="mod">
          <ac:chgData name="Mary Cruz Portugal Fernandez" userId="5b2e4939-a7dc-4649-be3a-bb2844e519d6" providerId="ADAL" clId="{8170B20B-0A51-4709-993B-4D1DC2CD127B}" dt="2024-06-17T19:01:52.625" v="993" actId="14100"/>
          <ac:spMkLst>
            <pc:docMk/>
            <pc:sldMk cId="3220162634" sldId="2147310013"/>
            <ac:spMk id="4" creationId="{214813B5-CFED-29B4-BF6F-6CDF2DFD1998}"/>
          </ac:spMkLst>
        </pc:spChg>
        <pc:spChg chg="add mod">
          <ac:chgData name="Mary Cruz Portugal Fernandez" userId="5b2e4939-a7dc-4649-be3a-bb2844e519d6" providerId="ADAL" clId="{8170B20B-0A51-4709-993B-4D1DC2CD127B}" dt="2024-06-17T15:51:39.547" v="571" actId="571"/>
          <ac:spMkLst>
            <pc:docMk/>
            <pc:sldMk cId="3220162634" sldId="2147310013"/>
            <ac:spMk id="5" creationId="{2458771C-CD85-9DB8-33C5-BF73A0A44667}"/>
          </ac:spMkLst>
        </pc:spChg>
        <pc:spChg chg="mod">
          <ac:chgData name="Mary Cruz Portugal Fernandez" userId="5b2e4939-a7dc-4649-be3a-bb2844e519d6" providerId="ADAL" clId="{8170B20B-0A51-4709-993B-4D1DC2CD127B}" dt="2024-06-17T19:02:07.933" v="995" actId="1076"/>
          <ac:spMkLst>
            <pc:docMk/>
            <pc:sldMk cId="3220162634" sldId="2147310013"/>
            <ac:spMk id="5" creationId="{DCFC370B-44D8-91ED-9C38-441986C9E4BE}"/>
          </ac:spMkLst>
        </pc:spChg>
        <pc:spChg chg="mod">
          <ac:chgData name="Mary Cruz Portugal Fernandez" userId="5b2e4939-a7dc-4649-be3a-bb2844e519d6" providerId="ADAL" clId="{8170B20B-0A51-4709-993B-4D1DC2CD127B}" dt="2024-06-17T19:02:44.549" v="1000" actId="1076"/>
          <ac:spMkLst>
            <pc:docMk/>
            <pc:sldMk cId="3220162634" sldId="2147310013"/>
            <ac:spMk id="8" creationId="{796FAE6D-544B-0F2A-4D80-0D93C6DAC61E}"/>
          </ac:spMkLst>
        </pc:spChg>
        <pc:spChg chg="add mod">
          <ac:chgData name="Mary Cruz Portugal Fernandez" userId="5b2e4939-a7dc-4649-be3a-bb2844e519d6" providerId="ADAL" clId="{8170B20B-0A51-4709-993B-4D1DC2CD127B}" dt="2024-06-17T16:34:56.773" v="777" actId="571"/>
          <ac:spMkLst>
            <pc:docMk/>
            <pc:sldMk cId="3220162634" sldId="2147310013"/>
            <ac:spMk id="12" creationId="{778BE76F-0B8C-83E0-1B87-88081047ACCC}"/>
          </ac:spMkLst>
        </pc:spChg>
        <pc:spChg chg="add mod">
          <ac:chgData name="Mary Cruz Portugal Fernandez" userId="5b2e4939-a7dc-4649-be3a-bb2844e519d6" providerId="ADAL" clId="{8170B20B-0A51-4709-993B-4D1DC2CD127B}" dt="2024-06-17T15:51:39.547" v="571" actId="571"/>
          <ac:spMkLst>
            <pc:docMk/>
            <pc:sldMk cId="3220162634" sldId="2147310013"/>
            <ac:spMk id="12" creationId="{809F0355-8550-F30F-8509-50E985E230B9}"/>
          </ac:spMkLst>
        </pc:spChg>
        <pc:spChg chg="add mod">
          <ac:chgData name="Mary Cruz Portugal Fernandez" userId="5b2e4939-a7dc-4649-be3a-bb2844e519d6" providerId="ADAL" clId="{8170B20B-0A51-4709-993B-4D1DC2CD127B}" dt="2024-06-17T16:34:56.773" v="777" actId="571"/>
          <ac:spMkLst>
            <pc:docMk/>
            <pc:sldMk cId="3220162634" sldId="2147310013"/>
            <ac:spMk id="14" creationId="{55F3AC05-84DF-027D-1801-163D43A7647C}"/>
          </ac:spMkLst>
        </pc:spChg>
        <pc:spChg chg="add mod">
          <ac:chgData name="Mary Cruz Portugal Fernandez" userId="5b2e4939-a7dc-4649-be3a-bb2844e519d6" providerId="ADAL" clId="{8170B20B-0A51-4709-993B-4D1DC2CD127B}" dt="2024-06-17T15:51:39.547" v="571" actId="571"/>
          <ac:spMkLst>
            <pc:docMk/>
            <pc:sldMk cId="3220162634" sldId="2147310013"/>
            <ac:spMk id="14" creationId="{CA8FE2D7-FDA5-1487-1759-1F6D6242C9E2}"/>
          </ac:spMkLst>
        </pc:spChg>
        <pc:spChg chg="add mod">
          <ac:chgData name="Mary Cruz Portugal Fernandez" userId="5b2e4939-a7dc-4649-be3a-bb2844e519d6" providerId="ADAL" clId="{8170B20B-0A51-4709-993B-4D1DC2CD127B}" dt="2024-06-17T16:34:56.773" v="777" actId="571"/>
          <ac:spMkLst>
            <pc:docMk/>
            <pc:sldMk cId="3220162634" sldId="2147310013"/>
            <ac:spMk id="15" creationId="{3B0FC831-2F05-20CF-38F1-3B36AA59D6E4}"/>
          </ac:spMkLst>
        </pc:spChg>
        <pc:spChg chg="del mod">
          <ac:chgData name="Mary Cruz Portugal Fernandez" userId="5b2e4939-a7dc-4649-be3a-bb2844e519d6" providerId="ADAL" clId="{8170B20B-0A51-4709-993B-4D1DC2CD127B}" dt="2024-06-17T19:01:59.575" v="994" actId="1076"/>
          <ac:spMkLst>
            <pc:docMk/>
            <pc:sldMk cId="3220162634" sldId="2147310013"/>
            <ac:spMk id="16" creationId="{6F37DDB0-9DF4-9B80-6878-B28A1F0EBCDF}"/>
          </ac:spMkLst>
        </pc:spChg>
        <pc:spChg chg="del mod">
          <ac:chgData name="Mary Cruz Portugal Fernandez" userId="5b2e4939-a7dc-4649-be3a-bb2844e519d6" providerId="ADAL" clId="{8170B20B-0A51-4709-993B-4D1DC2CD127B}" dt="2024-06-17T19:02:18.789" v="997" actId="1076"/>
          <ac:spMkLst>
            <pc:docMk/>
            <pc:sldMk cId="3220162634" sldId="2147310013"/>
            <ac:spMk id="19" creationId="{555F3443-61F8-91D4-34FD-2C3A2C66E1A2}"/>
          </ac:spMkLst>
        </pc:spChg>
        <pc:spChg chg="add mod">
          <ac:chgData name="Mary Cruz Portugal Fernandez" userId="5b2e4939-a7dc-4649-be3a-bb2844e519d6" providerId="ADAL" clId="{8170B20B-0A51-4709-993B-4D1DC2CD127B}" dt="2024-06-17T16:35:27.167" v="778" actId="571"/>
          <ac:spMkLst>
            <pc:docMk/>
            <pc:sldMk cId="3220162634" sldId="2147310013"/>
            <ac:spMk id="20" creationId="{CB74DA48-7EC6-E621-0E43-0206DC4831A5}"/>
          </ac:spMkLst>
        </pc:spChg>
        <pc:spChg chg="mod">
          <ac:chgData name="Mary Cruz Portugal Fernandez" userId="5b2e4939-a7dc-4649-be3a-bb2844e519d6" providerId="ADAL" clId="{8170B20B-0A51-4709-993B-4D1DC2CD127B}" dt="2024-06-17T19:01:45.926" v="992" actId="1076"/>
          <ac:spMkLst>
            <pc:docMk/>
            <pc:sldMk cId="3220162634" sldId="2147310013"/>
            <ac:spMk id="21" creationId="{1D59CAD0-FAC0-0B32-FD2A-220A16AB290B}"/>
          </ac:spMkLst>
        </pc:spChg>
        <pc:spChg chg="mod">
          <ac:chgData name="Mary Cruz Portugal Fernandez" userId="5b2e4939-a7dc-4649-be3a-bb2844e519d6" providerId="ADAL" clId="{8170B20B-0A51-4709-993B-4D1DC2CD127B}" dt="2024-06-17T19:01:45.926" v="992" actId="1076"/>
          <ac:spMkLst>
            <pc:docMk/>
            <pc:sldMk cId="3220162634" sldId="2147310013"/>
            <ac:spMk id="23" creationId="{5C53E7DF-5446-8BB3-EAD8-2C4B22F3C78A}"/>
          </ac:spMkLst>
        </pc:spChg>
        <pc:spChg chg="mod">
          <ac:chgData name="Mary Cruz Portugal Fernandez" userId="5b2e4939-a7dc-4649-be3a-bb2844e519d6" providerId="ADAL" clId="{8170B20B-0A51-4709-993B-4D1DC2CD127B}" dt="2024-06-17T19:00:19.877" v="973" actId="1076"/>
          <ac:spMkLst>
            <pc:docMk/>
            <pc:sldMk cId="3220162634" sldId="2147310013"/>
            <ac:spMk id="25" creationId="{60AEF0E8-673F-F364-6612-B8C442F48D75}"/>
          </ac:spMkLst>
        </pc:spChg>
        <pc:spChg chg="mod">
          <ac:chgData name="Mary Cruz Portugal Fernandez" userId="5b2e4939-a7dc-4649-be3a-bb2844e519d6" providerId="ADAL" clId="{8170B20B-0A51-4709-993B-4D1DC2CD127B}" dt="2024-06-17T19:00:19.877" v="973" actId="1076"/>
          <ac:spMkLst>
            <pc:docMk/>
            <pc:sldMk cId="3220162634" sldId="2147310013"/>
            <ac:spMk id="29" creationId="{F61115BC-F867-165D-ACD4-F601FD4C9D15}"/>
          </ac:spMkLst>
        </pc:spChg>
        <pc:spChg chg="del mod">
          <ac:chgData name="Mary Cruz Portugal Fernandez" userId="5b2e4939-a7dc-4649-be3a-bb2844e519d6" providerId="ADAL" clId="{8170B20B-0A51-4709-993B-4D1DC2CD127B}" dt="2024-06-17T19:01:59.575" v="994" actId="1076"/>
          <ac:spMkLst>
            <pc:docMk/>
            <pc:sldMk cId="3220162634" sldId="2147310013"/>
            <ac:spMk id="30" creationId="{1B3594EE-5C7D-88B2-19F1-0A643220AC5B}"/>
          </ac:spMkLst>
        </pc:spChg>
        <pc:spChg chg="add mod">
          <ac:chgData name="Mary Cruz Portugal Fernandez" userId="5b2e4939-a7dc-4649-be3a-bb2844e519d6" providerId="ADAL" clId="{8170B20B-0A51-4709-993B-4D1DC2CD127B}" dt="2024-06-17T16:35:27.167" v="778" actId="571"/>
          <ac:spMkLst>
            <pc:docMk/>
            <pc:sldMk cId="3220162634" sldId="2147310013"/>
            <ac:spMk id="32" creationId="{3B9AA55F-FE92-BBE1-1BB2-11A20D9429C5}"/>
          </ac:spMkLst>
        </pc:spChg>
        <pc:spChg chg="add mod">
          <ac:chgData name="Mary Cruz Portugal Fernandez" userId="5b2e4939-a7dc-4649-be3a-bb2844e519d6" providerId="ADAL" clId="{8170B20B-0A51-4709-993B-4D1DC2CD127B}" dt="2024-06-17T16:35:27.167" v="778" actId="571"/>
          <ac:spMkLst>
            <pc:docMk/>
            <pc:sldMk cId="3220162634" sldId="2147310013"/>
            <ac:spMk id="35" creationId="{660E61DE-45BC-0E0F-46E9-F8EAC9D64F52}"/>
          </ac:spMkLst>
        </pc:spChg>
        <pc:spChg chg="add mod">
          <ac:chgData name="Mary Cruz Portugal Fernandez" userId="5b2e4939-a7dc-4649-be3a-bb2844e519d6" providerId="ADAL" clId="{8170B20B-0A51-4709-993B-4D1DC2CD127B}" dt="2024-06-17T16:35:27.167" v="778" actId="571"/>
          <ac:spMkLst>
            <pc:docMk/>
            <pc:sldMk cId="3220162634" sldId="2147310013"/>
            <ac:spMk id="36" creationId="{005339BA-B684-6144-BE34-EE1753566AE4}"/>
          </ac:spMkLst>
        </pc:spChg>
        <pc:spChg chg="add mod">
          <ac:chgData name="Mary Cruz Portugal Fernandez" userId="5b2e4939-a7dc-4649-be3a-bb2844e519d6" providerId="ADAL" clId="{8170B20B-0A51-4709-993B-4D1DC2CD127B}" dt="2024-06-17T16:35:36.854" v="779" actId="571"/>
          <ac:spMkLst>
            <pc:docMk/>
            <pc:sldMk cId="3220162634" sldId="2147310013"/>
            <ac:spMk id="37" creationId="{9C3DE868-6F3F-4CB1-F5D2-B62BC999BD69}"/>
          </ac:spMkLst>
        </pc:spChg>
        <pc:spChg chg="mod">
          <ac:chgData name="Mary Cruz Portugal Fernandez" userId="5b2e4939-a7dc-4649-be3a-bb2844e519d6" providerId="ADAL" clId="{8170B20B-0A51-4709-993B-4D1DC2CD127B}" dt="2024-06-17T19:02:14.333" v="996" actId="1076"/>
          <ac:spMkLst>
            <pc:docMk/>
            <pc:sldMk cId="3220162634" sldId="2147310013"/>
            <ac:spMk id="48" creationId="{00F49C6B-A09B-C3C2-0CA5-E99B0BDAC31D}"/>
          </ac:spMkLst>
        </pc:spChg>
        <pc:spChg chg="mod">
          <ac:chgData name="Mary Cruz Portugal Fernandez" userId="5b2e4939-a7dc-4649-be3a-bb2844e519d6" providerId="ADAL" clId="{8170B20B-0A51-4709-993B-4D1DC2CD127B}" dt="2024-06-17T19:02:37.390" v="999" actId="14100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Mary Cruz Portugal Fernandez" userId="5b2e4939-a7dc-4649-be3a-bb2844e519d6" providerId="ADAL" clId="{8170B20B-0A51-4709-993B-4D1DC2CD127B}" dt="2024-06-17T19:02:33.862" v="998" actId="1076"/>
          <ac:spMkLst>
            <pc:docMk/>
            <pc:sldMk cId="3220162634" sldId="2147310013"/>
            <ac:spMk id="53" creationId="{FA42AA40-A391-EC6A-40D7-8F46A9ED8DE4}"/>
          </ac:spMkLst>
        </pc:spChg>
        <pc:spChg chg="mod">
          <ac:chgData name="Mary Cruz Portugal Fernandez" userId="5b2e4939-a7dc-4649-be3a-bb2844e519d6" providerId="ADAL" clId="{8170B20B-0A51-4709-993B-4D1DC2CD127B}" dt="2024-06-17T19:02:44.549" v="1000" actId="1076"/>
          <ac:spMkLst>
            <pc:docMk/>
            <pc:sldMk cId="3220162634" sldId="2147310013"/>
            <ac:spMk id="55" creationId="{72D4B0F3-8C67-0E29-74DD-A4B03B0101B3}"/>
          </ac:spMkLst>
        </pc:spChg>
        <pc:spChg chg="mod">
          <ac:chgData name="Mary Cruz Portugal Fernandez" userId="5b2e4939-a7dc-4649-be3a-bb2844e519d6" providerId="ADAL" clId="{8170B20B-0A51-4709-993B-4D1DC2CD127B}" dt="2024-06-17T19:02:44.549" v="1000" actId="1076"/>
          <ac:spMkLst>
            <pc:docMk/>
            <pc:sldMk cId="3220162634" sldId="2147310013"/>
            <ac:spMk id="85" creationId="{A190D0B4-92ED-1A31-8614-795A6D20A889}"/>
          </ac:spMkLst>
        </pc:spChg>
        <pc:grpChg chg="mod">
          <ac:chgData name="Mary Cruz Portugal Fernandez" userId="5b2e4939-a7dc-4649-be3a-bb2844e519d6" providerId="ADAL" clId="{8170B20B-0A51-4709-993B-4D1DC2CD127B}" dt="2024-06-17T19:02:33.862" v="998" actId="1076"/>
          <ac:grpSpMkLst>
            <pc:docMk/>
            <pc:sldMk cId="3220162634" sldId="2147310013"/>
            <ac:grpSpMk id="31" creationId="{1DB416D3-DF5E-D3DA-70A1-5AFA3C8D6B36}"/>
          </ac:grpSpMkLst>
        </pc:grpChg>
        <pc:grpChg chg="mod">
          <ac:chgData name="Mary Cruz Portugal Fernandez" userId="5b2e4939-a7dc-4649-be3a-bb2844e519d6" providerId="ADAL" clId="{8170B20B-0A51-4709-993B-4D1DC2CD127B}" dt="2024-06-17T16:34:32.561" v="775" actId="1076"/>
          <ac:grpSpMkLst>
            <pc:docMk/>
            <pc:sldMk cId="3220162634" sldId="2147310013"/>
            <ac:grpSpMk id="100" creationId="{40F1A526-D7B5-8B1C-930F-65535833FD1B}"/>
          </ac:grpSpMkLst>
        </pc:grpChg>
        <pc:graphicFrameChg chg="mod modGraphic">
          <ac:chgData name="Mary Cruz Portugal Fernandez" userId="5b2e4939-a7dc-4649-be3a-bb2844e519d6" providerId="ADAL" clId="{8170B20B-0A51-4709-993B-4D1DC2CD127B}" dt="2024-06-17T16:34:32.561" v="775" actId="1076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34:18.947" v="774" actId="14100"/>
          <ac:graphicFrameMkLst>
            <pc:docMk/>
            <pc:sldMk cId="3220162634" sldId="2147310013"/>
            <ac:graphicFrameMk id="9" creationId="{6CAFEE46-651C-4D5E-688E-AA3C88B6FD69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9:01:37.009" v="991" actId="255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9:03:08.047" v="1002" actId="14100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7:03:49.768" v="788" actId="14734"/>
          <ac:graphicFrameMkLst>
            <pc:docMk/>
            <pc:sldMk cId="3220162634" sldId="2147310013"/>
            <ac:graphicFrameMk id="24" creationId="{1F63B92A-AAF5-96C2-6880-F383DEA45B0D}"/>
          </ac:graphicFrameMkLst>
        </pc:graphicFrameChg>
        <pc:graphicFrameChg chg="mod modGraphic">
          <ac:chgData name="Mary Cruz Portugal Fernandez" userId="5b2e4939-a7dc-4649-be3a-bb2844e519d6" providerId="ADAL" clId="{8170B20B-0A51-4709-993B-4D1DC2CD127B}" dt="2024-06-17T16:34:13.829" v="772" actId="14100"/>
          <ac:graphicFrameMkLst>
            <pc:docMk/>
            <pc:sldMk cId="3220162634" sldId="2147310013"/>
            <ac:graphicFrameMk id="61" creationId="{F80C53DB-1346-9B12-6010-601F74E865A3}"/>
          </ac:graphicFrameMkLst>
        </pc:graphicFrameChg>
        <pc:graphicFrameChg chg="modGraphic">
          <ac:chgData name="Mary Cruz Portugal Fernandez" userId="5b2e4939-a7dc-4649-be3a-bb2844e519d6" providerId="ADAL" clId="{8170B20B-0A51-4709-993B-4D1DC2CD127B}" dt="2024-06-17T16:34:07.213" v="770" actId="20577"/>
          <ac:graphicFrameMkLst>
            <pc:docMk/>
            <pc:sldMk cId="3220162634" sldId="2147310013"/>
            <ac:graphicFrameMk id="83" creationId="{078028E8-7344-67A2-47F9-81298AFE5B2F}"/>
          </ac:graphicFrameMkLst>
        </pc:graphicFrameChg>
        <pc:cxnChg chg="mod">
          <ac:chgData name="Mary Cruz Portugal Fernandez" userId="5b2e4939-a7dc-4649-be3a-bb2844e519d6" providerId="ADAL" clId="{8170B20B-0A51-4709-993B-4D1DC2CD127B}" dt="2024-06-17T19:02:33.862" v="998" actId="1076"/>
          <ac:cxnSpMkLst>
            <pc:docMk/>
            <pc:sldMk cId="3220162634" sldId="2147310013"/>
            <ac:cxnSpMk id="26" creationId="{E5E3E115-6167-D937-90F3-8C6C0A2B3840}"/>
          </ac:cxnSpMkLst>
        </pc:cxnChg>
        <pc:cxnChg chg="mod">
          <ac:chgData name="Mary Cruz Portugal Fernandez" userId="5b2e4939-a7dc-4649-be3a-bb2844e519d6" providerId="ADAL" clId="{8170B20B-0A51-4709-993B-4D1DC2CD127B}" dt="2024-06-17T16:34:32.561" v="775" actId="1076"/>
          <ac:cxnSpMkLst>
            <pc:docMk/>
            <pc:sldMk cId="3220162634" sldId="2147310013"/>
            <ac:cxnSpMk id="99" creationId="{C02670AE-9261-CA3F-F9D0-DD8729B1D1B0}"/>
          </ac:cxnSpMkLst>
        </pc:cxnChg>
      </pc:sldChg>
    </pc:docChg>
  </pc:docChgLst>
  <pc:docChgLst>
    <pc:chgData name="Juan Enrique Córdova Woo" userId="S::jcordovaw@palmas.com.pe::48e678bc-df39-4a8a-a383-6b816eb75cf2" providerId="AD" clId="Web-{8564F807-FF81-BAB8-F9B9-A6052014BDE0}"/>
    <pc:docChg chg="modSld">
      <pc:chgData name="Juan Enrique Córdova Woo" userId="S::jcordovaw@palmas.com.pe::48e678bc-df39-4a8a-a383-6b816eb75cf2" providerId="AD" clId="Web-{8564F807-FF81-BAB8-F9B9-A6052014BDE0}" dt="2024-08-22T19:26:18.138" v="11"/>
      <pc:docMkLst>
        <pc:docMk/>
      </pc:docMkLst>
      <pc:sldChg chg="modSp">
        <pc:chgData name="Juan Enrique Córdova Woo" userId="S::jcordovaw@palmas.com.pe::48e678bc-df39-4a8a-a383-6b816eb75cf2" providerId="AD" clId="Web-{8564F807-FF81-BAB8-F9B9-A6052014BDE0}" dt="2024-08-22T19:26:18.138" v="11"/>
        <pc:sldMkLst>
          <pc:docMk/>
          <pc:sldMk cId="649892551" sldId="2147310016"/>
        </pc:sldMkLst>
        <pc:graphicFrameChg chg="mod modGraphic">
          <ac:chgData name="Juan Enrique Córdova Woo" userId="S::jcordovaw@palmas.com.pe::48e678bc-df39-4a8a-a383-6b816eb75cf2" providerId="AD" clId="Web-{8564F807-FF81-BAB8-F9B9-A6052014BDE0}" dt="2024-08-22T19:26:18.138" v="11"/>
          <ac:graphicFrameMkLst>
            <pc:docMk/>
            <pc:sldMk cId="649892551" sldId="2147310016"/>
            <ac:graphicFrameMk id="13" creationId="{BC0710D6-135E-EDE0-0A2D-C2D70100BF45}"/>
          </ac:graphicFrameMkLst>
        </pc:graphicFrameChg>
      </pc:sldChg>
    </pc:docChg>
  </pc:docChgLst>
  <pc:docChgLst>
    <pc:chgData name="Juan Enrique Córdova Woo" userId="48e678bc-df39-4a8a-a383-6b816eb75cf2" providerId="ADAL" clId="{0E9632D3-B806-4E5E-A292-37DE5E5EEE35}"/>
    <pc:docChg chg="undo redo custSel modSld">
      <pc:chgData name="Juan Enrique Córdova Woo" userId="48e678bc-df39-4a8a-a383-6b816eb75cf2" providerId="ADAL" clId="{0E9632D3-B806-4E5E-A292-37DE5E5EEE35}" dt="2024-08-22T14:24:34.549" v="1156" actId="14100"/>
      <pc:docMkLst>
        <pc:docMk/>
      </pc:docMkLst>
      <pc:sldChg chg="modSp">
        <pc:chgData name="Juan Enrique Córdova Woo" userId="48e678bc-df39-4a8a-a383-6b816eb75cf2" providerId="ADAL" clId="{0E9632D3-B806-4E5E-A292-37DE5E5EEE35}" dt="2024-08-20T13:55:22.591" v="34" actId="113"/>
        <pc:sldMkLst>
          <pc:docMk/>
          <pc:sldMk cId="3859250616" sldId="2147310010"/>
        </pc:sldMkLst>
        <pc:spChg chg="mod">
          <ac:chgData name="Juan Enrique Córdova Woo" userId="48e678bc-df39-4a8a-a383-6b816eb75cf2" providerId="ADAL" clId="{0E9632D3-B806-4E5E-A292-37DE5E5EEE35}" dt="2024-08-20T13:55:22.591" v="34" actId="113"/>
          <ac:spMkLst>
            <pc:docMk/>
            <pc:sldMk cId="3859250616" sldId="2147310010"/>
            <ac:spMk id="95" creationId="{1E36C828-9251-7A0D-8548-438D1BC31F5A}"/>
          </ac:spMkLst>
        </pc:spChg>
        <pc:spChg chg="mod">
          <ac:chgData name="Juan Enrique Córdova Woo" userId="48e678bc-df39-4a8a-a383-6b816eb75cf2" providerId="ADAL" clId="{0E9632D3-B806-4E5E-A292-37DE5E5EEE35}" dt="2024-08-20T13:52:34.028" v="9" actId="20577"/>
          <ac:spMkLst>
            <pc:docMk/>
            <pc:sldMk cId="3859250616" sldId="2147310010"/>
            <ac:spMk id="101" creationId="{F56E5407-E8CF-1457-A0E3-B6C96658378F}"/>
          </ac:spMkLst>
        </pc:spChg>
      </pc:sldChg>
      <pc:sldChg chg="delSp modSp mod delAnim modAnim">
        <pc:chgData name="Juan Enrique Córdova Woo" userId="48e678bc-df39-4a8a-a383-6b816eb75cf2" providerId="ADAL" clId="{0E9632D3-B806-4E5E-A292-37DE5E5EEE35}" dt="2024-08-20T14:04:17.246" v="205" actId="113"/>
        <pc:sldMkLst>
          <pc:docMk/>
          <pc:sldMk cId="659418568" sldId="2147310011"/>
        </pc:sldMkLst>
        <pc:spChg chg="del">
          <ac:chgData name="Juan Enrique Córdova Woo" userId="48e678bc-df39-4a8a-a383-6b816eb75cf2" providerId="ADAL" clId="{0E9632D3-B806-4E5E-A292-37DE5E5EEE35}" dt="2024-08-20T14:03:40.261" v="147" actId="478"/>
          <ac:spMkLst>
            <pc:docMk/>
            <pc:sldMk cId="659418568" sldId="2147310011"/>
            <ac:spMk id="18" creationId="{B773CC8C-1893-D801-E2DB-1561F5B2168B}"/>
          </ac:spMkLst>
        </pc:spChg>
        <pc:spChg chg="del">
          <ac:chgData name="Juan Enrique Córdova Woo" userId="48e678bc-df39-4a8a-a383-6b816eb75cf2" providerId="ADAL" clId="{0E9632D3-B806-4E5E-A292-37DE5E5EEE35}" dt="2024-08-20T14:03:40.261" v="147" actId="478"/>
          <ac:spMkLst>
            <pc:docMk/>
            <pc:sldMk cId="659418568" sldId="2147310011"/>
            <ac:spMk id="20" creationId="{44E483C8-99F5-C97D-BC74-417016EAB33D}"/>
          </ac:spMkLst>
        </pc:spChg>
        <pc:spChg chg="mod">
          <ac:chgData name="Juan Enrique Córdova Woo" userId="48e678bc-df39-4a8a-a383-6b816eb75cf2" providerId="ADAL" clId="{0E9632D3-B806-4E5E-A292-37DE5E5EEE35}" dt="2024-08-20T14:03:46.518" v="165" actId="1036"/>
          <ac:spMkLst>
            <pc:docMk/>
            <pc:sldMk cId="659418568" sldId="2147310011"/>
            <ac:spMk id="37" creationId="{0BA00B9C-ABB1-7EF7-83F4-6B2C76F61927}"/>
          </ac:spMkLst>
        </pc:spChg>
        <pc:spChg chg="mod">
          <ac:chgData name="Juan Enrique Córdova Woo" userId="48e678bc-df39-4a8a-a383-6b816eb75cf2" providerId="ADAL" clId="{0E9632D3-B806-4E5E-A292-37DE5E5EEE35}" dt="2024-08-20T14:04:17.246" v="205" actId="113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0E9632D3-B806-4E5E-A292-37DE5E5EEE35}" dt="2024-08-20T14:03:13.805" v="69" actId="6549"/>
          <ac:spMkLst>
            <pc:docMk/>
            <pc:sldMk cId="659418568" sldId="2147310011"/>
            <ac:spMk id="53" creationId="{FA42AA40-A391-EC6A-40D7-8F46A9ED8DE4}"/>
          </ac:spMkLst>
        </pc:spChg>
        <pc:grpChg chg="mod">
          <ac:chgData name="Juan Enrique Córdova Woo" userId="48e678bc-df39-4a8a-a383-6b816eb75cf2" providerId="ADAL" clId="{0E9632D3-B806-4E5E-A292-37DE5E5EEE35}" dt="2024-08-20T13:59:24.651" v="48" actId="1035"/>
          <ac:grpSpMkLst>
            <pc:docMk/>
            <pc:sldMk cId="659418568" sldId="2147310011"/>
            <ac:grpSpMk id="15" creationId="{D64C4FA5-BF9B-4CB0-A633-7699FF995123}"/>
          </ac:grpSpMkLst>
        </pc:grpChg>
      </pc:sldChg>
      <pc:sldChg chg="delSp modSp mod delAnim">
        <pc:chgData name="Juan Enrique Córdova Woo" userId="48e678bc-df39-4a8a-a383-6b816eb75cf2" providerId="ADAL" clId="{0E9632D3-B806-4E5E-A292-37DE5E5EEE35}" dt="2024-08-20T14:06:34.366" v="221" actId="14100"/>
        <pc:sldMkLst>
          <pc:docMk/>
          <pc:sldMk cId="1253964456" sldId="2147310012"/>
        </pc:sldMkLst>
        <pc:spChg chg="mod">
          <ac:chgData name="Juan Enrique Córdova Woo" userId="48e678bc-df39-4a8a-a383-6b816eb75cf2" providerId="ADAL" clId="{0E9632D3-B806-4E5E-A292-37DE5E5EEE35}" dt="2024-08-20T14:05:01.013" v="220" actId="1035"/>
          <ac:spMkLst>
            <pc:docMk/>
            <pc:sldMk cId="1253964456" sldId="2147310012"/>
            <ac:spMk id="15" creationId="{D73CFB90-4150-B4F8-851D-EC3B542C1969}"/>
          </ac:spMkLst>
        </pc:spChg>
        <pc:spChg chg="mod">
          <ac:chgData name="Juan Enrique Córdova Woo" userId="48e678bc-df39-4a8a-a383-6b816eb75cf2" providerId="ADAL" clId="{0E9632D3-B806-4E5E-A292-37DE5E5EEE35}" dt="2024-08-20T14:04:53.583" v="206" actId="6549"/>
          <ac:spMkLst>
            <pc:docMk/>
            <pc:sldMk cId="1253964456" sldId="2147310012"/>
            <ac:spMk id="52" creationId="{D3025A42-AB12-02DF-F704-5ED0E025B12F}"/>
          </ac:spMkLst>
        </pc:spChg>
        <pc:spChg chg="del">
          <ac:chgData name="Juan Enrique Córdova Woo" userId="48e678bc-df39-4a8a-a383-6b816eb75cf2" providerId="ADAL" clId="{0E9632D3-B806-4E5E-A292-37DE5E5EEE35}" dt="2024-08-20T14:04:57.659" v="207" actId="478"/>
          <ac:spMkLst>
            <pc:docMk/>
            <pc:sldMk cId="1253964456" sldId="2147310012"/>
            <ac:spMk id="85" creationId="{A190D0B4-92ED-1A31-8614-795A6D20A889}"/>
          </ac:spMkLst>
        </pc:spChg>
        <pc:cxnChg chg="mod">
          <ac:chgData name="Juan Enrique Córdova Woo" userId="48e678bc-df39-4a8a-a383-6b816eb75cf2" providerId="ADAL" clId="{0E9632D3-B806-4E5E-A292-37DE5E5EEE35}" dt="2024-08-20T14:06:34.366" v="221" actId="14100"/>
          <ac:cxnSpMkLst>
            <pc:docMk/>
            <pc:sldMk cId="1253964456" sldId="2147310012"/>
            <ac:cxnSpMk id="24" creationId="{D1CA1A3B-97BF-A4F0-676D-2E2BF5351516}"/>
          </ac:cxnSpMkLst>
        </pc:cxnChg>
      </pc:sldChg>
      <pc:sldChg chg="modSp mod">
        <pc:chgData name="Juan Enrique Córdova Woo" userId="48e678bc-df39-4a8a-a383-6b816eb75cf2" providerId="ADAL" clId="{0E9632D3-B806-4E5E-A292-37DE5E5EEE35}" dt="2024-08-22T14:24:34.549" v="1156" actId="14100"/>
        <pc:sldMkLst>
          <pc:docMk/>
          <pc:sldMk cId="3220162634" sldId="2147310013"/>
        </pc:sldMkLst>
        <pc:spChg chg="mod">
          <ac:chgData name="Juan Enrique Córdova Woo" userId="48e678bc-df39-4a8a-a383-6b816eb75cf2" providerId="ADAL" clId="{0E9632D3-B806-4E5E-A292-37DE5E5EEE35}" dt="2024-08-20T14:12:28.194" v="237" actId="1035"/>
          <ac:spMkLst>
            <pc:docMk/>
            <pc:sldMk cId="3220162634" sldId="2147310013"/>
            <ac:spMk id="38" creationId="{01BD3907-257A-9B49-612D-779EAD43FA17}"/>
          </ac:spMkLst>
        </pc:spChg>
        <pc:spChg chg="mod">
          <ac:chgData name="Juan Enrique Córdova Woo" userId="48e678bc-df39-4a8a-a383-6b816eb75cf2" providerId="ADAL" clId="{0E9632D3-B806-4E5E-A292-37DE5E5EEE35}" dt="2024-08-20T14:12:16.968" v="226" actId="20577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0E9632D3-B806-4E5E-A292-37DE5E5EEE35}" dt="2024-08-20T14:12:32.528" v="246" actId="1036"/>
          <ac:spMkLst>
            <pc:docMk/>
            <pc:sldMk cId="3220162634" sldId="2147310013"/>
            <ac:spMk id="85" creationId="{A190D0B4-92ED-1A31-8614-795A6D20A889}"/>
          </ac:spMkLst>
        </pc:spChg>
        <pc:grpChg chg="mod">
          <ac:chgData name="Juan Enrique Córdova Woo" userId="48e678bc-df39-4a8a-a383-6b816eb75cf2" providerId="ADAL" clId="{0E9632D3-B806-4E5E-A292-37DE5E5EEE35}" dt="2024-08-22T14:24:16.242" v="1155" actId="1037"/>
          <ac:grpSpMkLst>
            <pc:docMk/>
            <pc:sldMk cId="3220162634" sldId="2147310013"/>
            <ac:grpSpMk id="31" creationId="{1DB416D3-DF5E-D3DA-70A1-5AFA3C8D6B36}"/>
          </ac:grpSpMkLst>
        </pc:grpChg>
        <pc:cxnChg chg="mod">
          <ac:chgData name="Juan Enrique Córdova Woo" userId="48e678bc-df39-4a8a-a383-6b816eb75cf2" providerId="ADAL" clId="{0E9632D3-B806-4E5E-A292-37DE5E5EEE35}" dt="2024-08-22T14:24:34.549" v="1156" actId="14100"/>
          <ac:cxnSpMkLst>
            <pc:docMk/>
            <pc:sldMk cId="3220162634" sldId="2147310013"/>
            <ac:cxnSpMk id="26" creationId="{E5E3E115-6167-D937-90F3-8C6C0A2B3840}"/>
          </ac:cxnSpMkLst>
        </pc:cxnChg>
      </pc:sldChg>
      <pc:sldChg chg="addSp delSp modSp mod">
        <pc:chgData name="Juan Enrique Córdova Woo" userId="48e678bc-df39-4a8a-a383-6b816eb75cf2" providerId="ADAL" clId="{0E9632D3-B806-4E5E-A292-37DE5E5EEE35}" dt="2024-08-20T21:51:05.610" v="273" actId="478"/>
        <pc:sldMkLst>
          <pc:docMk/>
          <pc:sldMk cId="151272569" sldId="2147310022"/>
        </pc:sldMkLst>
        <pc:graphicFrameChg chg="modGraphic">
          <ac:chgData name="Juan Enrique Córdova Woo" userId="48e678bc-df39-4a8a-a383-6b816eb75cf2" providerId="ADAL" clId="{0E9632D3-B806-4E5E-A292-37DE5E5EEE35}" dt="2024-08-20T21:50:37.796" v="272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Juan Enrique Córdova Woo" userId="48e678bc-df39-4a8a-a383-6b816eb75cf2" providerId="ADAL" clId="{0E9632D3-B806-4E5E-A292-37DE5E5EEE35}" dt="2024-08-20T21:47:15.989" v="260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picChg chg="add del mod modCrop">
          <ac:chgData name="Juan Enrique Córdova Woo" userId="48e678bc-df39-4a8a-a383-6b816eb75cf2" providerId="ADAL" clId="{0E9632D3-B806-4E5E-A292-37DE5E5EEE35}" dt="2024-08-20T21:51:05.610" v="273" actId="478"/>
          <ac:picMkLst>
            <pc:docMk/>
            <pc:sldMk cId="151272569" sldId="2147310022"/>
            <ac:picMk id="10" creationId="{4CF23C6D-A104-CC33-7E4E-35BCE4441680}"/>
          </ac:picMkLst>
        </pc:picChg>
      </pc:sldChg>
      <pc:sldChg chg="addSp delSp modSp mod">
        <pc:chgData name="Juan Enrique Córdova Woo" userId="48e678bc-df39-4a8a-a383-6b816eb75cf2" providerId="ADAL" clId="{0E9632D3-B806-4E5E-A292-37DE5E5EEE35}" dt="2024-08-21T16:44:11.969" v="1085" actId="478"/>
        <pc:sldMkLst>
          <pc:docMk/>
          <pc:sldMk cId="3233114531" sldId="2147310033"/>
        </pc:sldMkLst>
        <pc:spChg chg="add mod">
          <ac:chgData name="Juan Enrique Córdova Woo" userId="48e678bc-df39-4a8a-a383-6b816eb75cf2" providerId="ADAL" clId="{0E9632D3-B806-4E5E-A292-37DE5E5EEE35}" dt="2024-08-21T16:17:08.151" v="448" actId="552"/>
          <ac:spMkLst>
            <pc:docMk/>
            <pc:sldMk cId="3233114531" sldId="2147310033"/>
            <ac:spMk id="2" creationId="{E83288CF-5062-BB5D-A0B7-996551EEB19C}"/>
          </ac:spMkLst>
        </pc:spChg>
        <pc:spChg chg="add mod">
          <ac:chgData name="Juan Enrique Córdova Woo" userId="48e678bc-df39-4a8a-a383-6b816eb75cf2" providerId="ADAL" clId="{0E9632D3-B806-4E5E-A292-37DE5E5EEE35}" dt="2024-08-21T16:39:16.954" v="942" actId="14100"/>
          <ac:spMkLst>
            <pc:docMk/>
            <pc:sldMk cId="3233114531" sldId="2147310033"/>
            <ac:spMk id="11" creationId="{08632B0B-F4B8-02BB-7B68-6F6E69A19D0E}"/>
          </ac:spMkLst>
        </pc:spChg>
        <pc:spChg chg="add del mod">
          <ac:chgData name="Juan Enrique Córdova Woo" userId="48e678bc-df39-4a8a-a383-6b816eb75cf2" providerId="ADAL" clId="{0E9632D3-B806-4E5E-A292-37DE5E5EEE35}" dt="2024-08-21T16:19:48.418" v="528" actId="478"/>
          <ac:spMkLst>
            <pc:docMk/>
            <pc:sldMk cId="3233114531" sldId="2147310033"/>
            <ac:spMk id="15" creationId="{CEB89CD7-8E98-A666-773E-57E8E8BCAE5E}"/>
          </ac:spMkLst>
        </pc:spChg>
        <pc:spChg chg="add mod">
          <ac:chgData name="Juan Enrique Córdova Woo" userId="48e678bc-df39-4a8a-a383-6b816eb75cf2" providerId="ADAL" clId="{0E9632D3-B806-4E5E-A292-37DE5E5EEE35}" dt="2024-08-21T16:30:18.953" v="789" actId="1035"/>
          <ac:spMkLst>
            <pc:docMk/>
            <pc:sldMk cId="3233114531" sldId="2147310033"/>
            <ac:spMk id="16" creationId="{B2289561-5EFA-D612-4C29-F010BA1867CB}"/>
          </ac:spMkLst>
        </pc:spChg>
        <pc:spChg chg="add del mod">
          <ac:chgData name="Juan Enrique Córdova Woo" userId="48e678bc-df39-4a8a-a383-6b816eb75cf2" providerId="ADAL" clId="{0E9632D3-B806-4E5E-A292-37DE5E5EEE35}" dt="2024-08-21T16:39:37.589" v="980" actId="1038"/>
          <ac:spMkLst>
            <pc:docMk/>
            <pc:sldMk cId="3233114531" sldId="2147310033"/>
            <ac:spMk id="24" creationId="{DFCC3D01-369E-318F-5428-C27AB5866B7D}"/>
          </ac:spMkLst>
        </pc:spChg>
        <pc:picChg chg="add del">
          <ac:chgData name="Juan Enrique Córdova Woo" userId="48e678bc-df39-4a8a-a383-6b816eb75cf2" providerId="ADAL" clId="{0E9632D3-B806-4E5E-A292-37DE5E5EEE35}" dt="2024-08-21T16:10:47.410" v="356" actId="478"/>
          <ac:picMkLst>
            <pc:docMk/>
            <pc:sldMk cId="3233114531" sldId="2147310033"/>
            <ac:picMk id="6" creationId="{36A34861-4C9C-1B3F-BA54-E645EE83A5D8}"/>
          </ac:picMkLst>
        </pc:picChg>
        <pc:picChg chg="add del mod modCrop">
          <ac:chgData name="Juan Enrique Córdova Woo" userId="48e678bc-df39-4a8a-a383-6b816eb75cf2" providerId="ADAL" clId="{0E9632D3-B806-4E5E-A292-37DE5E5EEE35}" dt="2024-08-21T16:27:14.073" v="738" actId="478"/>
          <ac:picMkLst>
            <pc:docMk/>
            <pc:sldMk cId="3233114531" sldId="2147310033"/>
            <ac:picMk id="9" creationId="{E872AAFC-AD52-98D4-2E26-E81A46069DDD}"/>
          </ac:picMkLst>
        </pc:picChg>
        <pc:picChg chg="add mod">
          <ac:chgData name="Juan Enrique Córdova Woo" userId="48e678bc-df39-4a8a-a383-6b816eb75cf2" providerId="ADAL" clId="{0E9632D3-B806-4E5E-A292-37DE5E5EEE35}" dt="2024-08-21T16:30:51.127" v="797" actId="1035"/>
          <ac:picMkLst>
            <pc:docMk/>
            <pc:sldMk cId="3233114531" sldId="2147310033"/>
            <ac:picMk id="13" creationId="{91508176-12B5-3D6D-7A84-21AE58E12492}"/>
          </ac:picMkLst>
        </pc:picChg>
        <pc:picChg chg="add del mod modCrop">
          <ac:chgData name="Juan Enrique Córdova Woo" userId="48e678bc-df39-4a8a-a383-6b816eb75cf2" providerId="ADAL" clId="{0E9632D3-B806-4E5E-A292-37DE5E5EEE35}" dt="2024-08-21T16:24:19.572" v="716" actId="478"/>
          <ac:picMkLst>
            <pc:docMk/>
            <pc:sldMk cId="3233114531" sldId="2147310033"/>
            <ac:picMk id="17" creationId="{D73C2B95-915F-A0BE-08CB-D2BA66BAC323}"/>
          </ac:picMkLst>
        </pc:picChg>
        <pc:picChg chg="add mod">
          <ac:chgData name="Juan Enrique Córdova Woo" userId="48e678bc-df39-4a8a-a383-6b816eb75cf2" providerId="ADAL" clId="{0E9632D3-B806-4E5E-A292-37DE5E5EEE35}" dt="2024-08-21T16:28:15.024" v="752" actId="1038"/>
          <ac:picMkLst>
            <pc:docMk/>
            <pc:sldMk cId="3233114531" sldId="2147310033"/>
            <ac:picMk id="19" creationId="{379D04FD-B23E-FFAA-4828-5A52A0A9B9A7}"/>
          </ac:picMkLst>
        </pc:picChg>
        <pc:picChg chg="add mod modCrop">
          <ac:chgData name="Juan Enrique Córdova Woo" userId="48e678bc-df39-4a8a-a383-6b816eb75cf2" providerId="ADAL" clId="{0E9632D3-B806-4E5E-A292-37DE5E5EEE35}" dt="2024-08-21T16:28:31.160" v="756" actId="1037"/>
          <ac:picMkLst>
            <pc:docMk/>
            <pc:sldMk cId="3233114531" sldId="2147310033"/>
            <ac:picMk id="21" creationId="{592E765F-2E6D-D1FF-7F52-DDCA869E01FA}"/>
          </ac:picMkLst>
        </pc:picChg>
        <pc:picChg chg="add mod">
          <ac:chgData name="Juan Enrique Córdova Woo" userId="48e678bc-df39-4a8a-a383-6b816eb75cf2" providerId="ADAL" clId="{0E9632D3-B806-4E5E-A292-37DE5E5EEE35}" dt="2024-08-21T16:28:15.024" v="752" actId="1038"/>
          <ac:picMkLst>
            <pc:docMk/>
            <pc:sldMk cId="3233114531" sldId="2147310033"/>
            <ac:picMk id="23" creationId="{10E7E7F4-7019-BF09-2548-216098A1B204}"/>
          </ac:picMkLst>
        </pc:picChg>
        <pc:picChg chg="add del mod">
          <ac:chgData name="Juan Enrique Córdova Woo" userId="48e678bc-df39-4a8a-a383-6b816eb75cf2" providerId="ADAL" clId="{0E9632D3-B806-4E5E-A292-37DE5E5EEE35}" dt="2024-08-21T16:41:35.466" v="1014" actId="552"/>
          <ac:picMkLst>
            <pc:docMk/>
            <pc:sldMk cId="3233114531" sldId="2147310033"/>
            <ac:picMk id="28" creationId="{273CA1DC-FCA7-C703-D311-F8E12FA4831F}"/>
          </ac:picMkLst>
        </pc:picChg>
        <pc:picChg chg="add del mod">
          <ac:chgData name="Juan Enrique Córdova Woo" userId="48e678bc-df39-4a8a-a383-6b816eb75cf2" providerId="ADAL" clId="{0E9632D3-B806-4E5E-A292-37DE5E5EEE35}" dt="2024-08-21T16:41:29.261" v="1013" actId="552"/>
          <ac:picMkLst>
            <pc:docMk/>
            <pc:sldMk cId="3233114531" sldId="2147310033"/>
            <ac:picMk id="29" creationId="{E0DD1EBC-7CC9-33F4-8464-80A0D7321063}"/>
          </ac:picMkLst>
        </pc:picChg>
        <pc:picChg chg="add del mod">
          <ac:chgData name="Juan Enrique Córdova Woo" userId="48e678bc-df39-4a8a-a383-6b816eb75cf2" providerId="ADAL" clId="{0E9632D3-B806-4E5E-A292-37DE5E5EEE35}" dt="2024-08-21T16:41:35.466" v="1014" actId="552"/>
          <ac:picMkLst>
            <pc:docMk/>
            <pc:sldMk cId="3233114531" sldId="2147310033"/>
            <ac:picMk id="30" creationId="{E49267FA-0BB9-476A-13CD-ED17023F0C77}"/>
          </ac:picMkLst>
        </pc:picChg>
        <pc:picChg chg="add del mod">
          <ac:chgData name="Juan Enrique Córdova Woo" userId="48e678bc-df39-4a8a-a383-6b816eb75cf2" providerId="ADAL" clId="{0E9632D3-B806-4E5E-A292-37DE5E5EEE35}" dt="2024-08-21T16:41:29.261" v="1013" actId="552"/>
          <ac:picMkLst>
            <pc:docMk/>
            <pc:sldMk cId="3233114531" sldId="2147310033"/>
            <ac:picMk id="31" creationId="{FA295E2E-DD21-0D8E-FBC0-A84A7724BA1F}"/>
          </ac:picMkLst>
        </pc:picChg>
        <pc:picChg chg="add mod modCrop">
          <ac:chgData name="Juan Enrique Córdova Woo" userId="48e678bc-df39-4a8a-a383-6b816eb75cf2" providerId="ADAL" clId="{0E9632D3-B806-4E5E-A292-37DE5E5EEE35}" dt="2024-08-21T16:43:24.305" v="1080" actId="1035"/>
          <ac:picMkLst>
            <pc:docMk/>
            <pc:sldMk cId="3233114531" sldId="2147310033"/>
            <ac:picMk id="32" creationId="{4B116B90-DB48-128A-6464-EECCF57F979F}"/>
          </ac:picMkLst>
        </pc:picChg>
        <pc:picChg chg="add del mod">
          <ac:chgData name="Juan Enrique Córdova Woo" userId="48e678bc-df39-4a8a-a383-6b816eb75cf2" providerId="ADAL" clId="{0E9632D3-B806-4E5E-A292-37DE5E5EEE35}" dt="2024-08-21T16:41:40.062" v="1015" actId="552"/>
          <ac:picMkLst>
            <pc:docMk/>
            <pc:sldMk cId="3233114531" sldId="2147310033"/>
            <ac:picMk id="33" creationId="{E1CEFE9E-925C-BB6D-D787-9B89D967C9F8}"/>
          </ac:picMkLst>
        </pc:picChg>
        <pc:picChg chg="add del mod">
          <ac:chgData name="Juan Enrique Córdova Woo" userId="48e678bc-df39-4a8a-a383-6b816eb75cf2" providerId="ADAL" clId="{0E9632D3-B806-4E5E-A292-37DE5E5EEE35}" dt="2024-08-21T16:41:40.062" v="1015" actId="552"/>
          <ac:picMkLst>
            <pc:docMk/>
            <pc:sldMk cId="3233114531" sldId="2147310033"/>
            <ac:picMk id="34" creationId="{6864134A-C37D-CCA5-56BA-0B9347B03CDE}"/>
          </ac:picMkLst>
        </pc:picChg>
        <pc:picChg chg="add del mod">
          <ac:chgData name="Juan Enrique Córdova Woo" userId="48e678bc-df39-4a8a-a383-6b816eb75cf2" providerId="ADAL" clId="{0E9632D3-B806-4E5E-A292-37DE5E5EEE35}" dt="2024-08-21T16:44:11.969" v="1085" actId="478"/>
          <ac:picMkLst>
            <pc:docMk/>
            <pc:sldMk cId="3233114531" sldId="2147310033"/>
            <ac:picMk id="35" creationId="{BC84CC22-AB07-F9C5-149E-593A8622E6A4}"/>
          </ac:picMkLst>
        </pc:picChg>
        <pc:cxnChg chg="add mod">
          <ac:chgData name="Juan Enrique Córdova Woo" userId="48e678bc-df39-4a8a-a383-6b816eb75cf2" providerId="ADAL" clId="{0E9632D3-B806-4E5E-A292-37DE5E5EEE35}" dt="2024-08-21T16:39:21.712" v="955" actId="1037"/>
          <ac:cxnSpMkLst>
            <pc:docMk/>
            <pc:sldMk cId="3233114531" sldId="2147310033"/>
            <ac:cxnSpMk id="26" creationId="{00C2E779-E1F6-D3EA-8EEA-1669BC5F45E2}"/>
          </ac:cxnSpMkLst>
        </pc:cxnChg>
      </pc:sldChg>
    </pc:docChg>
  </pc:docChgLst>
  <pc:docChgLst>
    <pc:chgData name="Mary Cruz Portugal Fernandez" userId="5b2e4939-a7dc-4649-be3a-bb2844e519d6" providerId="ADAL" clId="{A340F41F-5D23-467B-B6A5-CF129EF62B22}"/>
    <pc:docChg chg="undo redo custSel modSld">
      <pc:chgData name="Mary Cruz Portugal Fernandez" userId="5b2e4939-a7dc-4649-be3a-bb2844e519d6" providerId="ADAL" clId="{A340F41F-5D23-467B-B6A5-CF129EF62B22}" dt="2024-07-15T15:58:24.297" v="1109" actId="14100"/>
      <pc:docMkLst>
        <pc:docMk/>
      </pc:docMkLst>
      <pc:sldChg chg="addSp delSp modSp mod addAnim delAnim">
        <pc:chgData name="Mary Cruz Portugal Fernandez" userId="5b2e4939-a7dc-4649-be3a-bb2844e519d6" providerId="ADAL" clId="{A340F41F-5D23-467B-B6A5-CF129EF62B22}" dt="2024-07-11T18:31:24.750" v="1064" actId="1076"/>
        <pc:sldMkLst>
          <pc:docMk/>
          <pc:sldMk cId="3859250616" sldId="2147310010"/>
        </pc:sldMkLst>
        <pc:spChg chg="add mod">
          <ac:chgData name="Mary Cruz Portugal Fernandez" userId="5b2e4939-a7dc-4649-be3a-bb2844e519d6" providerId="ADAL" clId="{A340F41F-5D23-467B-B6A5-CF129EF62B22}" dt="2024-07-11T18:19:01.668" v="1043" actId="12788"/>
          <ac:spMkLst>
            <pc:docMk/>
            <pc:sldMk cId="3859250616" sldId="2147310010"/>
            <ac:spMk id="10" creationId="{4B083221-15F5-F192-CE5B-A0B8D068E27F}"/>
          </ac:spMkLst>
        </pc:spChg>
        <pc:spChg chg="add mod">
          <ac:chgData name="Mary Cruz Portugal Fernandez" userId="5b2e4939-a7dc-4649-be3a-bb2844e519d6" providerId="ADAL" clId="{A340F41F-5D23-467B-B6A5-CF129EF62B22}" dt="2024-07-11T18:19:01.668" v="1043" actId="12788"/>
          <ac:spMkLst>
            <pc:docMk/>
            <pc:sldMk cId="3859250616" sldId="2147310010"/>
            <ac:spMk id="12" creationId="{05CE4673-B51C-D1D6-458C-31F617161ECE}"/>
          </ac:spMkLst>
        </pc:spChg>
        <pc:spChg chg="add mod">
          <ac:chgData name="Mary Cruz Portugal Fernandez" userId="5b2e4939-a7dc-4649-be3a-bb2844e519d6" providerId="ADAL" clId="{A340F41F-5D23-467B-B6A5-CF129EF62B22}" dt="2024-07-11T18:19:01.668" v="1043" actId="12788"/>
          <ac:spMkLst>
            <pc:docMk/>
            <pc:sldMk cId="3859250616" sldId="2147310010"/>
            <ac:spMk id="17" creationId="{C726D157-79AD-B1FA-CC5B-437E41D1E735}"/>
          </ac:spMkLst>
        </pc:spChg>
        <pc:spChg chg="add mod">
          <ac:chgData name="Mary Cruz Portugal Fernandez" userId="5b2e4939-a7dc-4649-be3a-bb2844e519d6" providerId="ADAL" clId="{A340F41F-5D23-467B-B6A5-CF129EF62B22}" dt="2024-07-11T18:25:08.171" v="1044"/>
          <ac:spMkLst>
            <pc:docMk/>
            <pc:sldMk cId="3859250616" sldId="2147310010"/>
            <ac:spMk id="18" creationId="{604DC390-B01B-B851-6A38-332FD5EC8CC0}"/>
          </ac:spMkLst>
        </pc:spChg>
        <pc:spChg chg="add mod">
          <ac:chgData name="Mary Cruz Portugal Fernandez" userId="5b2e4939-a7dc-4649-be3a-bb2844e519d6" providerId="ADAL" clId="{A340F41F-5D23-467B-B6A5-CF129EF62B22}" dt="2024-07-11T18:25:08.171" v="1044"/>
          <ac:spMkLst>
            <pc:docMk/>
            <pc:sldMk cId="3859250616" sldId="2147310010"/>
            <ac:spMk id="23" creationId="{7E895907-12CC-E615-4AE8-D40EF8EC4814}"/>
          </ac:spMkLst>
        </pc:spChg>
        <pc:spChg chg="add mod">
          <ac:chgData name="Mary Cruz Portugal Fernandez" userId="5b2e4939-a7dc-4649-be3a-bb2844e519d6" providerId="ADAL" clId="{A340F41F-5D23-467B-B6A5-CF129EF62B22}" dt="2024-07-11T18:25:08.171" v="1044"/>
          <ac:spMkLst>
            <pc:docMk/>
            <pc:sldMk cId="3859250616" sldId="2147310010"/>
            <ac:spMk id="25" creationId="{4ACC14C3-E57E-4ED2-2B37-84543FA9F09C}"/>
          </ac:spMkLst>
        </pc:spChg>
        <pc:spChg chg="add mod">
          <ac:chgData name="Mary Cruz Portugal Fernandez" userId="5b2e4939-a7dc-4649-be3a-bb2844e519d6" providerId="ADAL" clId="{A340F41F-5D23-467B-B6A5-CF129EF62B22}" dt="2024-07-11T18:25:21.924" v="1046" actId="1076"/>
          <ac:spMkLst>
            <pc:docMk/>
            <pc:sldMk cId="3859250616" sldId="2147310010"/>
            <ac:spMk id="34" creationId="{A0C9E43F-39E3-3AC8-A120-077D7A1F1316}"/>
          </ac:spMkLst>
        </pc:spChg>
        <pc:spChg chg="add mod">
          <ac:chgData name="Mary Cruz Portugal Fernandez" userId="5b2e4939-a7dc-4649-be3a-bb2844e519d6" providerId="ADAL" clId="{A340F41F-5D23-467B-B6A5-CF129EF62B22}" dt="2024-07-11T18:26:07.356" v="1050" actId="1076"/>
          <ac:spMkLst>
            <pc:docMk/>
            <pc:sldMk cId="3859250616" sldId="2147310010"/>
            <ac:spMk id="35" creationId="{32CA3136-FF6D-5641-F26D-AEDD60253547}"/>
          </ac:spMkLst>
        </pc:spChg>
        <pc:spChg chg="add mod">
          <ac:chgData name="Mary Cruz Portugal Fernandez" userId="5b2e4939-a7dc-4649-be3a-bb2844e519d6" providerId="ADAL" clId="{A340F41F-5D23-467B-B6A5-CF129EF62B22}" dt="2024-07-11T18:26:29.540" v="1054" actId="1076"/>
          <ac:spMkLst>
            <pc:docMk/>
            <pc:sldMk cId="3859250616" sldId="2147310010"/>
            <ac:spMk id="36" creationId="{546A3460-1BED-122D-761A-E53D2365A58D}"/>
          </ac:spMkLst>
        </pc:spChg>
        <pc:spChg chg="add mod">
          <ac:chgData name="Mary Cruz Portugal Fernandez" userId="5b2e4939-a7dc-4649-be3a-bb2844e519d6" providerId="ADAL" clId="{A340F41F-5D23-467B-B6A5-CF129EF62B22}" dt="2024-07-11T18:26:36.363" v="1056" actId="1076"/>
          <ac:spMkLst>
            <pc:docMk/>
            <pc:sldMk cId="3859250616" sldId="2147310010"/>
            <ac:spMk id="37" creationId="{51CED139-87E9-9DCC-2363-939FEEBFAB77}"/>
          </ac:spMkLst>
        </pc:spChg>
        <pc:spChg chg="add mod">
          <ac:chgData name="Mary Cruz Portugal Fernandez" userId="5b2e4939-a7dc-4649-be3a-bb2844e519d6" providerId="ADAL" clId="{A340F41F-5D23-467B-B6A5-CF129EF62B22}" dt="2024-07-11T18:27:32.605" v="1058" actId="1076"/>
          <ac:spMkLst>
            <pc:docMk/>
            <pc:sldMk cId="3859250616" sldId="2147310010"/>
            <ac:spMk id="38" creationId="{E6674BF0-AF50-5180-15BC-078661131C1D}"/>
          </ac:spMkLst>
        </pc:spChg>
        <pc:spChg chg="add mod">
          <ac:chgData name="Mary Cruz Portugal Fernandez" userId="5b2e4939-a7dc-4649-be3a-bb2844e519d6" providerId="ADAL" clId="{A340F41F-5D23-467B-B6A5-CF129EF62B22}" dt="2024-07-11T18:30:19.371" v="1060" actId="1076"/>
          <ac:spMkLst>
            <pc:docMk/>
            <pc:sldMk cId="3859250616" sldId="2147310010"/>
            <ac:spMk id="39" creationId="{C38CFC3E-EB9D-97B4-AA03-EDD10D516D5E}"/>
          </ac:spMkLst>
        </pc:spChg>
        <pc:spChg chg="add mod">
          <ac:chgData name="Mary Cruz Portugal Fernandez" userId="5b2e4939-a7dc-4649-be3a-bb2844e519d6" providerId="ADAL" clId="{A340F41F-5D23-467B-B6A5-CF129EF62B22}" dt="2024-07-11T18:30:35.926" v="1062" actId="1076"/>
          <ac:spMkLst>
            <pc:docMk/>
            <pc:sldMk cId="3859250616" sldId="2147310010"/>
            <ac:spMk id="40" creationId="{45A087FC-AEA5-E6CE-5438-5987C45DC09A}"/>
          </ac:spMkLst>
        </pc:spChg>
        <pc:spChg chg="add mod">
          <ac:chgData name="Mary Cruz Portugal Fernandez" userId="5b2e4939-a7dc-4649-be3a-bb2844e519d6" providerId="ADAL" clId="{A340F41F-5D23-467B-B6A5-CF129EF62B22}" dt="2024-07-11T18:31:24.750" v="1064" actId="1076"/>
          <ac:spMkLst>
            <pc:docMk/>
            <pc:sldMk cId="3859250616" sldId="2147310010"/>
            <ac:spMk id="41" creationId="{66CEA737-AF56-4A2D-DA24-6750F69C85BE}"/>
          </ac:spMkLst>
        </pc:spChg>
        <pc:grpChg chg="mod">
          <ac:chgData name="Mary Cruz Portugal Fernandez" userId="5b2e4939-a7dc-4649-be3a-bb2844e519d6" providerId="ADAL" clId="{A340F41F-5D23-467B-B6A5-CF129EF62B22}" dt="2024-07-11T17:28:01.427" v="913" actId="1076"/>
          <ac:grpSpMkLst>
            <pc:docMk/>
            <pc:sldMk cId="3859250616" sldId="2147310010"/>
            <ac:grpSpMk id="56" creationId="{26C36EE6-18F1-C2AF-B99B-694EAD485BC0}"/>
          </ac:grpSpMkLst>
        </pc:grpChg>
        <pc:graphicFrameChg chg="add del mod">
          <ac:chgData name="Mary Cruz Portugal Fernandez" userId="5b2e4939-a7dc-4649-be3a-bb2844e519d6" providerId="ADAL" clId="{A340F41F-5D23-467B-B6A5-CF129EF62B22}" dt="2024-07-11T16:07:48.060" v="79" actId="478"/>
          <ac:graphicFrameMkLst>
            <pc:docMk/>
            <pc:sldMk cId="3859250616" sldId="2147310010"/>
            <ac:graphicFrameMk id="5" creationId="{707D7B99-4569-EE2A-2A94-914FC50DE4F5}"/>
          </ac:graphicFrameMkLst>
        </pc:graphicFrameChg>
        <pc:graphicFrameChg chg="add del mod modGraphic">
          <ac:chgData name="Mary Cruz Portugal Fernandez" userId="5b2e4939-a7dc-4649-be3a-bb2844e519d6" providerId="ADAL" clId="{A340F41F-5D23-467B-B6A5-CF129EF62B22}" dt="2024-07-11T17:09:49.491" v="816" actId="1076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29:53.276" v="919" actId="20577"/>
          <ac:graphicFrameMkLst>
            <pc:docMk/>
            <pc:sldMk cId="3859250616" sldId="2147310010"/>
            <ac:graphicFrameMk id="49" creationId="{88FCF8A2-08D8-B125-B8AF-5C065C1F1ADF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26:54.740" v="899" actId="14100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Graphic">
          <ac:chgData name="Mary Cruz Portugal Fernandez" userId="5b2e4939-a7dc-4649-be3a-bb2844e519d6" providerId="ADAL" clId="{A340F41F-5D23-467B-B6A5-CF129EF62B22}" dt="2024-07-11T17:27:28.105" v="908" actId="14100"/>
          <ac:graphicFrameMkLst>
            <pc:docMk/>
            <pc:sldMk cId="3859250616" sldId="2147310010"/>
            <ac:graphicFrameMk id="72" creationId="{4A3A1DD2-0C93-56D8-AB9B-783B736DD38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26:51.738" v="898" actId="14100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27:38.546" v="910" actId="14100"/>
          <ac:graphicFrameMkLst>
            <pc:docMk/>
            <pc:sldMk cId="3859250616" sldId="2147310010"/>
            <ac:graphicFrameMk id="76" creationId="{3125FE1B-2FDF-853D-752A-C7EBA35BC40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26:22.313" v="1053" actId="14734"/>
          <ac:graphicFrameMkLst>
            <pc:docMk/>
            <pc:sldMk cId="3859250616" sldId="2147310010"/>
            <ac:graphicFrameMk id="110" creationId="{751A893B-CEB1-72E6-7813-28330BFF72D4}"/>
          </ac:graphicFrameMkLst>
        </pc:graphicFrameChg>
        <pc:cxnChg chg="mod">
          <ac:chgData name="Mary Cruz Portugal Fernandez" userId="5b2e4939-a7dc-4649-be3a-bb2844e519d6" providerId="ADAL" clId="{A340F41F-5D23-467B-B6A5-CF129EF62B22}" dt="2024-07-11T17:28:05.499" v="915" actId="1076"/>
          <ac:cxnSpMkLst>
            <pc:docMk/>
            <pc:sldMk cId="3859250616" sldId="2147310010"/>
            <ac:cxnSpMk id="51" creationId="{C206E334-3B8E-C988-A1A2-955D965AC5FD}"/>
          </ac:cxnSpMkLst>
        </pc:cxnChg>
      </pc:sldChg>
      <pc:sldChg chg="addSp delSp modSp mod addAnim delAnim">
        <pc:chgData name="Mary Cruz Portugal Fernandez" userId="5b2e4939-a7dc-4649-be3a-bb2844e519d6" providerId="ADAL" clId="{A340F41F-5D23-467B-B6A5-CF129EF62B22}" dt="2024-07-11T19:08:42.785" v="1090" actId="1076"/>
        <pc:sldMkLst>
          <pc:docMk/>
          <pc:sldMk cId="659418568" sldId="2147310011"/>
        </pc:sldMkLst>
        <pc:spChg chg="add mod">
          <ac:chgData name="Mary Cruz Portugal Fernandez" userId="5b2e4939-a7dc-4649-be3a-bb2844e519d6" providerId="ADAL" clId="{A340F41F-5D23-467B-B6A5-CF129EF62B22}" dt="2024-07-11T18:32:18.635" v="1066" actId="1076"/>
          <ac:spMkLst>
            <pc:docMk/>
            <pc:sldMk cId="659418568" sldId="2147310011"/>
            <ac:spMk id="23" creationId="{E0FF47B1-8469-1EE9-5512-8348A6530BFB}"/>
          </ac:spMkLst>
        </pc:spChg>
        <pc:spChg chg="add mod">
          <ac:chgData name="Mary Cruz Portugal Fernandez" userId="5b2e4939-a7dc-4649-be3a-bb2844e519d6" providerId="ADAL" clId="{A340F41F-5D23-467B-B6A5-CF129EF62B22}" dt="2024-07-11T18:32:31.115" v="1068" actId="1076"/>
          <ac:spMkLst>
            <pc:docMk/>
            <pc:sldMk cId="659418568" sldId="2147310011"/>
            <ac:spMk id="36" creationId="{74D7035F-4EC5-F114-DB03-4AE194AFC1E6}"/>
          </ac:spMkLst>
        </pc:spChg>
        <pc:spChg chg="add del mod">
          <ac:chgData name="Mary Cruz Portugal Fernandez" userId="5b2e4939-a7dc-4649-be3a-bb2844e519d6" providerId="ADAL" clId="{A340F41F-5D23-467B-B6A5-CF129EF62B22}" dt="2024-07-11T18:34:04.495" v="1070" actId="478"/>
          <ac:spMkLst>
            <pc:docMk/>
            <pc:sldMk cId="659418568" sldId="2147310011"/>
            <ac:spMk id="37" creationId="{C13121E8-BB25-0331-FB73-004FEED6E47E}"/>
          </ac:spMkLst>
        </pc:spChg>
        <pc:spChg chg="add mod">
          <ac:chgData name="Mary Cruz Portugal Fernandez" userId="5b2e4939-a7dc-4649-be3a-bb2844e519d6" providerId="ADAL" clId="{A340F41F-5D23-467B-B6A5-CF129EF62B22}" dt="2024-07-11T18:34:11.146" v="1072" actId="1076"/>
          <ac:spMkLst>
            <pc:docMk/>
            <pc:sldMk cId="659418568" sldId="2147310011"/>
            <ac:spMk id="38" creationId="{E403EC08-89E4-1251-490B-836CF686999D}"/>
          </ac:spMkLst>
        </pc:spChg>
        <pc:spChg chg="add mod">
          <ac:chgData name="Mary Cruz Portugal Fernandez" userId="5b2e4939-a7dc-4649-be3a-bb2844e519d6" providerId="ADAL" clId="{A340F41F-5D23-467B-B6A5-CF129EF62B22}" dt="2024-07-11T18:34:17.381" v="1074" actId="1076"/>
          <ac:spMkLst>
            <pc:docMk/>
            <pc:sldMk cId="659418568" sldId="2147310011"/>
            <ac:spMk id="39" creationId="{77874828-55E2-B34F-4BD4-6717E67E6C1F}"/>
          </ac:spMkLst>
        </pc:spChg>
        <pc:spChg chg="add mod">
          <ac:chgData name="Mary Cruz Portugal Fernandez" userId="5b2e4939-a7dc-4649-be3a-bb2844e519d6" providerId="ADAL" clId="{A340F41F-5D23-467B-B6A5-CF129EF62B22}" dt="2024-07-11T18:36:04.136" v="1086" actId="12788"/>
          <ac:spMkLst>
            <pc:docMk/>
            <pc:sldMk cId="659418568" sldId="2147310011"/>
            <ac:spMk id="40" creationId="{FE4628A3-4C6E-91EF-08E1-B52D41B63994}"/>
          </ac:spMkLst>
        </pc:spChg>
        <pc:spChg chg="add mod">
          <ac:chgData name="Mary Cruz Portugal Fernandez" userId="5b2e4939-a7dc-4649-be3a-bb2844e519d6" providerId="ADAL" clId="{A340F41F-5D23-467B-B6A5-CF129EF62B22}" dt="2024-07-11T18:36:04.136" v="1086" actId="12788"/>
          <ac:spMkLst>
            <pc:docMk/>
            <pc:sldMk cId="659418568" sldId="2147310011"/>
            <ac:spMk id="41" creationId="{E5B6D509-8378-1FDB-1DAC-8EE95CFE69B9}"/>
          </ac:spMkLst>
        </pc:spChg>
        <pc:spChg chg="add mod">
          <ac:chgData name="Mary Cruz Portugal Fernandez" userId="5b2e4939-a7dc-4649-be3a-bb2844e519d6" providerId="ADAL" clId="{A340F41F-5D23-467B-B6A5-CF129EF62B22}" dt="2024-07-11T18:36:04.136" v="1086" actId="12788"/>
          <ac:spMkLst>
            <pc:docMk/>
            <pc:sldMk cId="659418568" sldId="2147310011"/>
            <ac:spMk id="42" creationId="{FA630256-908A-47A7-0B3C-CC5CCD7CE89B}"/>
          </ac:spMkLst>
        </pc:spChg>
        <pc:spChg chg="add mod">
          <ac:chgData name="Mary Cruz Portugal Fernandez" userId="5b2e4939-a7dc-4649-be3a-bb2844e519d6" providerId="ADAL" clId="{A340F41F-5D23-467B-B6A5-CF129EF62B22}" dt="2024-07-11T18:35:22.806" v="1082" actId="1076"/>
          <ac:spMkLst>
            <pc:docMk/>
            <pc:sldMk cId="659418568" sldId="2147310011"/>
            <ac:spMk id="43" creationId="{3B15B858-C1A5-1793-CA78-0DE879D9C6EF}"/>
          </ac:spMkLst>
        </pc:spChg>
        <pc:spChg chg="add mod">
          <ac:chgData name="Mary Cruz Portugal Fernandez" userId="5b2e4939-a7dc-4649-be3a-bb2844e519d6" providerId="ADAL" clId="{A340F41F-5D23-467B-B6A5-CF129EF62B22}" dt="2024-07-11T18:36:04.136" v="1086" actId="12788"/>
          <ac:spMkLst>
            <pc:docMk/>
            <pc:sldMk cId="659418568" sldId="2147310011"/>
            <ac:spMk id="44" creationId="{1D90AD2E-9744-3EB5-8624-727926E869C4}"/>
          </ac:spMkLst>
        </pc:spChg>
        <pc:spChg chg="add mod">
          <ac:chgData name="Mary Cruz Portugal Fernandez" userId="5b2e4939-a7dc-4649-be3a-bb2844e519d6" providerId="ADAL" clId="{A340F41F-5D23-467B-B6A5-CF129EF62B22}" dt="2024-07-11T19:08:42.785" v="1090" actId="1076"/>
          <ac:spMkLst>
            <pc:docMk/>
            <pc:sldMk cId="659418568" sldId="2147310011"/>
            <ac:spMk id="45" creationId="{5674DF94-190F-FDEF-9F40-EE89AC9ABEAE}"/>
          </ac:spMkLst>
        </pc:spChg>
        <pc:grpChg chg="mod">
          <ac:chgData name="Mary Cruz Portugal Fernandez" userId="5b2e4939-a7dc-4649-be3a-bb2844e519d6" providerId="ADAL" clId="{A340F41F-5D23-467B-B6A5-CF129EF62B22}" dt="2024-07-11T17:30:33.963" v="927" actId="1076"/>
          <ac:grpSpMkLst>
            <pc:docMk/>
            <pc:sldMk cId="659418568" sldId="2147310011"/>
            <ac:grpSpMk id="71" creationId="{FF7209EA-C8C0-A718-795F-D3F9E618D4F4}"/>
          </ac:grpSpMkLst>
        </pc:grpChg>
        <pc:graphicFrameChg chg="mod modGraphic">
          <ac:chgData name="Mary Cruz Portugal Fernandez" userId="5b2e4939-a7dc-4649-be3a-bb2844e519d6" providerId="ADAL" clId="{A340F41F-5D23-467B-B6A5-CF129EF62B22}" dt="2024-07-11T18:11:17.798" v="1018" actId="20577"/>
          <ac:graphicFrameMkLst>
            <pc:docMk/>
            <pc:sldMk cId="659418568" sldId="2147310011"/>
            <ac:graphicFrameMk id="8" creationId="{269AA73C-52E3-A76D-1E91-03A77131E48B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30:03.370" v="920" actId="14100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30:13.748" v="922" actId="14100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30:09.156" v="921" actId="14100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09:51.363" v="1000" actId="14100"/>
          <ac:graphicFrameMkLst>
            <pc:docMk/>
            <pc:sldMk cId="659418568" sldId="2147310011"/>
            <ac:graphicFrameMk id="96" creationId="{224917DE-B69A-F649-8CCF-3F273E2DFDDC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0:08.922" v="1004" actId="14100"/>
          <ac:graphicFrameMkLst>
            <pc:docMk/>
            <pc:sldMk cId="659418568" sldId="2147310011"/>
            <ac:graphicFrameMk id="99" creationId="{F80F6827-4F82-ED23-FE49-7A731F75170B}"/>
          </ac:graphicFrameMkLst>
        </pc:graphicFrameChg>
        <pc:graphicFrameChg chg="modGraphic">
          <ac:chgData name="Mary Cruz Portugal Fernandez" userId="5b2e4939-a7dc-4649-be3a-bb2844e519d6" providerId="ADAL" clId="{A340F41F-5D23-467B-B6A5-CF129EF62B22}" dt="2024-07-11T19:08:21.116" v="1088" actId="14100"/>
          <ac:graphicFrameMkLst>
            <pc:docMk/>
            <pc:sldMk cId="659418568" sldId="2147310011"/>
            <ac:graphicFrameMk id="107" creationId="{017A39C5-03EE-0BE9-0CC0-2447E9BD8116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1:02.837" v="1015" actId="14100"/>
          <ac:graphicFrameMkLst>
            <pc:docMk/>
            <pc:sldMk cId="659418568" sldId="2147310011"/>
            <ac:graphicFrameMk id="121" creationId="{F552A0A9-1624-93C4-9CF1-D68410798AB2}"/>
          </ac:graphicFrameMkLst>
        </pc:graphicFrameChg>
        <pc:cxnChg chg="mod">
          <ac:chgData name="Mary Cruz Portugal Fernandez" userId="5b2e4939-a7dc-4649-be3a-bb2844e519d6" providerId="ADAL" clId="{A340F41F-5D23-467B-B6A5-CF129EF62B22}" dt="2024-07-11T17:30:40.275" v="929" actId="1076"/>
          <ac:cxnSpMkLst>
            <pc:docMk/>
            <pc:sldMk cId="659418568" sldId="2147310011"/>
            <ac:cxnSpMk id="50" creationId="{AC2C4928-770F-4F0F-ED16-F4DA4132D4BB}"/>
          </ac:cxnSpMkLst>
        </pc:cxnChg>
        <pc:cxnChg chg="mod">
          <ac:chgData name="Mary Cruz Portugal Fernandez" userId="5b2e4939-a7dc-4649-be3a-bb2844e519d6" providerId="ADAL" clId="{A340F41F-5D23-467B-B6A5-CF129EF62B22}" dt="2024-07-11T17:30:27.970" v="925" actId="1076"/>
          <ac:cxnSpMkLst>
            <pc:docMk/>
            <pc:sldMk cId="659418568" sldId="2147310011"/>
            <ac:cxnSpMk id="51" creationId="{C206E334-3B8E-C988-A1A2-955D965AC5FD}"/>
          </ac:cxnSpMkLst>
        </pc:cxnChg>
      </pc:sldChg>
      <pc:sldChg chg="addSp modSp mod">
        <pc:chgData name="Mary Cruz Portugal Fernandez" userId="5b2e4939-a7dc-4649-be3a-bb2844e519d6" providerId="ADAL" clId="{A340F41F-5D23-467B-B6A5-CF129EF62B22}" dt="2024-07-15T15:58:24.297" v="1109" actId="14100"/>
        <pc:sldMkLst>
          <pc:docMk/>
          <pc:sldMk cId="1253964456" sldId="2147310012"/>
        </pc:sldMkLst>
        <pc:spChg chg="add mod">
          <ac:chgData name="Mary Cruz Portugal Fernandez" userId="5b2e4939-a7dc-4649-be3a-bb2844e519d6" providerId="ADAL" clId="{A340F41F-5D23-467B-B6A5-CF129EF62B22}" dt="2024-07-11T19:08:59.985" v="1092" actId="1076"/>
          <ac:spMkLst>
            <pc:docMk/>
            <pc:sldMk cId="1253964456" sldId="2147310012"/>
            <ac:spMk id="3" creationId="{BA4CE627-F153-FEF6-FF06-42A15C5C1DBA}"/>
          </ac:spMkLst>
        </pc:spChg>
        <pc:spChg chg="add mod">
          <ac:chgData name="Mary Cruz Portugal Fernandez" userId="5b2e4939-a7dc-4649-be3a-bb2844e519d6" providerId="ADAL" clId="{A340F41F-5D23-467B-B6A5-CF129EF62B22}" dt="2024-07-11T19:09:05.047" v="1094" actId="1076"/>
          <ac:spMkLst>
            <pc:docMk/>
            <pc:sldMk cId="1253964456" sldId="2147310012"/>
            <ac:spMk id="13" creationId="{CDD46501-35B8-85EB-5449-485B1C66D82A}"/>
          </ac:spMkLst>
        </pc:spChg>
        <pc:spChg chg="add mod">
          <ac:chgData name="Mary Cruz Portugal Fernandez" userId="5b2e4939-a7dc-4649-be3a-bb2844e519d6" providerId="ADAL" clId="{A340F41F-5D23-467B-B6A5-CF129EF62B22}" dt="2024-07-11T19:09:32.821" v="1098" actId="1076"/>
          <ac:spMkLst>
            <pc:docMk/>
            <pc:sldMk cId="1253964456" sldId="2147310012"/>
            <ac:spMk id="16" creationId="{EA236476-9DE7-A3B9-3821-5B8788A8706F}"/>
          </ac:spMkLst>
        </pc:spChg>
        <pc:spChg chg="add mod">
          <ac:chgData name="Mary Cruz Portugal Fernandez" userId="5b2e4939-a7dc-4649-be3a-bb2844e519d6" providerId="ADAL" clId="{A340F41F-5D23-467B-B6A5-CF129EF62B22}" dt="2024-07-11T19:09:44.889" v="1100" actId="1076"/>
          <ac:spMkLst>
            <pc:docMk/>
            <pc:sldMk cId="1253964456" sldId="2147310012"/>
            <ac:spMk id="23" creationId="{883BFA46-087F-5375-4C9D-03912118CED5}"/>
          </ac:spMkLst>
        </pc:spChg>
        <pc:spChg chg="add mod">
          <ac:chgData name="Mary Cruz Portugal Fernandez" userId="5b2e4939-a7dc-4649-be3a-bb2844e519d6" providerId="ADAL" clId="{A340F41F-5D23-467B-B6A5-CF129EF62B22}" dt="2024-07-11T19:09:56.122" v="1102" actId="1076"/>
          <ac:spMkLst>
            <pc:docMk/>
            <pc:sldMk cId="1253964456" sldId="2147310012"/>
            <ac:spMk id="38" creationId="{14CFA17B-C367-11F8-E49C-605972E2211D}"/>
          </ac:spMkLst>
        </pc:spChg>
        <pc:spChg chg="add mod">
          <ac:chgData name="Mary Cruz Portugal Fernandez" userId="5b2e4939-a7dc-4649-be3a-bb2844e519d6" providerId="ADAL" clId="{A340F41F-5D23-467B-B6A5-CF129EF62B22}" dt="2024-07-11T19:10:10.533" v="1104" actId="1076"/>
          <ac:spMkLst>
            <pc:docMk/>
            <pc:sldMk cId="1253964456" sldId="2147310012"/>
            <ac:spMk id="39" creationId="{58ACDE2D-7C54-18DD-218C-9D735788F3F7}"/>
          </ac:spMkLst>
        </pc:spChg>
        <pc:spChg chg="add mod">
          <ac:chgData name="Mary Cruz Portugal Fernandez" userId="5b2e4939-a7dc-4649-be3a-bb2844e519d6" providerId="ADAL" clId="{A340F41F-5D23-467B-B6A5-CF129EF62B22}" dt="2024-07-11T19:16:19.907" v="1106" actId="1076"/>
          <ac:spMkLst>
            <pc:docMk/>
            <pc:sldMk cId="1253964456" sldId="2147310012"/>
            <ac:spMk id="40" creationId="{C48E7C8B-7BB8-BC42-9337-24AD381C1325}"/>
          </ac:spMkLst>
        </pc:spChg>
        <pc:spChg chg="add mod">
          <ac:chgData name="Mary Cruz Portugal Fernandez" userId="5b2e4939-a7dc-4649-be3a-bb2844e519d6" providerId="ADAL" clId="{A340F41F-5D23-467B-B6A5-CF129EF62B22}" dt="2024-07-11T19:16:32.415" v="1108" actId="1076"/>
          <ac:spMkLst>
            <pc:docMk/>
            <pc:sldMk cId="1253964456" sldId="2147310012"/>
            <ac:spMk id="41" creationId="{D7018A3F-35D8-6F0B-1733-07EE91A81A22}"/>
          </ac:spMkLst>
        </pc:spChg>
        <pc:spChg chg="mod">
          <ac:chgData name="Mary Cruz Portugal Fernandez" userId="5b2e4939-a7dc-4649-be3a-bb2844e519d6" providerId="ADAL" clId="{A340F41F-5D23-467B-B6A5-CF129EF62B22}" dt="2024-07-11T18:08:13.048" v="975" actId="1076"/>
          <ac:spMkLst>
            <pc:docMk/>
            <pc:sldMk cId="1253964456" sldId="2147310012"/>
            <ac:spMk id="119" creationId="{E207651D-48BB-BDA1-5862-9BFB4153C375}"/>
          </ac:spMkLst>
        </pc:spChg>
        <pc:spChg chg="mod">
          <ac:chgData name="Mary Cruz Portugal Fernandez" userId="5b2e4939-a7dc-4649-be3a-bb2844e519d6" providerId="ADAL" clId="{A340F41F-5D23-467B-B6A5-CF129EF62B22}" dt="2024-07-11T18:08:13.048" v="975" actId="1076"/>
          <ac:spMkLst>
            <pc:docMk/>
            <pc:sldMk cId="1253964456" sldId="2147310012"/>
            <ac:spMk id="121" creationId="{EAB5AF86-A55E-AE71-E91B-D4912F6F5553}"/>
          </ac:spMkLst>
        </pc:spChg>
        <pc:grpChg chg="mod">
          <ac:chgData name="Mary Cruz Portugal Fernandez" userId="5b2e4939-a7dc-4649-be3a-bb2844e519d6" providerId="ADAL" clId="{A340F41F-5D23-467B-B6A5-CF129EF62B22}" dt="2024-07-11T18:11:53.411" v="1026" actId="1076"/>
          <ac:grpSpMkLst>
            <pc:docMk/>
            <pc:sldMk cId="1253964456" sldId="2147310012"/>
            <ac:grpSpMk id="71" creationId="{FF7209EA-C8C0-A718-795F-D3F9E618D4F4}"/>
          </ac:grpSpMkLst>
        </pc:grpChg>
        <pc:graphicFrameChg chg="mod modGraphic">
          <ac:chgData name="Mary Cruz Portugal Fernandez" userId="5b2e4939-a7dc-4649-be3a-bb2844e519d6" providerId="ADAL" clId="{A340F41F-5D23-467B-B6A5-CF129EF62B22}" dt="2024-07-11T17:20:56.933" v="865" actId="20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1:45.420" v="1024" actId="14100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1:35.843" v="1021" actId="14100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2:16.587" v="1033" actId="14100"/>
          <ac:graphicFrameMkLst>
            <pc:docMk/>
            <pc:sldMk cId="1253964456" sldId="2147310012"/>
            <ac:graphicFrameMk id="76" creationId="{77FF5062-77FE-063A-F3BF-E3BDA886374A}"/>
          </ac:graphicFrameMkLst>
        </pc:graphicFrameChg>
        <pc:graphicFrameChg chg="modGraphic">
          <ac:chgData name="Mary Cruz Portugal Fernandez" userId="5b2e4939-a7dc-4649-be3a-bb2844e519d6" providerId="ADAL" clId="{A340F41F-5D23-467B-B6A5-CF129EF62B22}" dt="2024-07-15T15:58:24.297" v="1109" actId="14100"/>
          <ac:graphicFrameMkLst>
            <pc:docMk/>
            <pc:sldMk cId="1253964456" sldId="2147310012"/>
            <ac:graphicFrameMk id="79" creationId="{AE610A2F-1113-208E-6D2C-74575A226BCE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9:09:10.114" v="1097" actId="1076"/>
          <ac:graphicFrameMkLst>
            <pc:docMk/>
            <pc:sldMk cId="1253964456" sldId="2147310012"/>
            <ac:graphicFrameMk id="93" creationId="{FC23B43C-5CDE-E746-BB68-17DF76019E26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8:12:23.516" v="1036" actId="20577"/>
          <ac:graphicFrameMkLst>
            <pc:docMk/>
            <pc:sldMk cId="1253964456" sldId="2147310012"/>
            <ac:graphicFrameMk id="116" creationId="{3A0C57E6-135A-4CDE-2036-FCFC5749E4BD}"/>
          </ac:graphicFrameMkLst>
        </pc:graphicFrameChg>
        <pc:cxnChg chg="mod">
          <ac:chgData name="Mary Cruz Portugal Fernandez" userId="5b2e4939-a7dc-4649-be3a-bb2844e519d6" providerId="ADAL" clId="{A340F41F-5D23-467B-B6A5-CF129EF62B22}" dt="2024-07-11T18:11:49.812" v="1025" actId="1076"/>
          <ac:cxnSpMkLst>
            <pc:docMk/>
            <pc:sldMk cId="1253964456" sldId="2147310012"/>
            <ac:cxnSpMk id="51" creationId="{C206E334-3B8E-C988-A1A2-955D965AC5FD}"/>
          </ac:cxnSpMkLst>
        </pc:cxnChg>
      </pc:sldChg>
      <pc:sldChg chg="modSp mod addAnim delAnim">
        <pc:chgData name="Mary Cruz Portugal Fernandez" userId="5b2e4939-a7dc-4649-be3a-bb2844e519d6" providerId="ADAL" clId="{A340F41F-5D23-467B-B6A5-CF129EF62B22}" dt="2024-07-11T17:24:53.051" v="886" actId="207"/>
        <pc:sldMkLst>
          <pc:docMk/>
          <pc:sldMk cId="3220162634" sldId="2147310013"/>
        </pc:sldMkLst>
        <pc:graphicFrameChg chg="mod modGraphic">
          <ac:chgData name="Mary Cruz Portugal Fernandez" userId="5b2e4939-a7dc-4649-be3a-bb2844e519d6" providerId="ADAL" clId="{A340F41F-5D23-467B-B6A5-CF129EF62B22}" dt="2024-07-11T17:24:53.051" v="886" actId="20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Graphic">
          <ac:chgData name="Mary Cruz Portugal Fernandez" userId="5b2e4939-a7dc-4649-be3a-bb2844e519d6" providerId="ADAL" clId="{A340F41F-5D23-467B-B6A5-CF129EF62B22}" dt="2024-07-11T17:05:13.499" v="730" actId="20577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Mary Cruz Portugal Fernandez" userId="5b2e4939-a7dc-4649-be3a-bb2844e519d6" providerId="ADAL" clId="{A340F41F-5D23-467B-B6A5-CF129EF62B22}" dt="2024-07-11T17:06:56.004" v="794" actId="20577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</pc:sldChg>
    </pc:docChg>
  </pc:docChgLst>
  <pc:docChgLst>
    <pc:chgData name="Fernando Enrique Nuñez Zapata" userId="4887fb29-3871-42a7-b0aa-ea8d45a5c181" providerId="ADAL" clId="{8E34F22B-B89A-43FC-B613-F065E8C2BDB6}"/>
    <pc:docChg chg="undo redo custSel addSld delSld modSld sldOrd modSection">
      <pc:chgData name="Fernando Enrique Nuñez Zapata" userId="4887fb29-3871-42a7-b0aa-ea8d45a5c181" providerId="ADAL" clId="{8E34F22B-B89A-43FC-B613-F065E8C2BDB6}" dt="2024-08-23T14:34:40.023" v="3823" actId="729"/>
      <pc:docMkLst>
        <pc:docMk/>
      </pc:docMkLst>
      <pc:sldChg chg="modSp mod">
        <pc:chgData name="Fernando Enrique Nuñez Zapata" userId="4887fb29-3871-42a7-b0aa-ea8d45a5c181" providerId="ADAL" clId="{8E34F22B-B89A-43FC-B613-F065E8C2BDB6}" dt="2024-08-15T19:23:18.913" v="541" actId="20577"/>
        <pc:sldMkLst>
          <pc:docMk/>
          <pc:sldMk cId="2525707367" sldId="272"/>
        </pc:sldMkLst>
        <pc:spChg chg="mod">
          <ac:chgData name="Fernando Enrique Nuñez Zapata" userId="4887fb29-3871-42a7-b0aa-ea8d45a5c181" providerId="ADAL" clId="{8E34F22B-B89A-43FC-B613-F065E8C2BDB6}" dt="2024-08-15T19:23:18.913" v="541" actId="20577"/>
          <ac:spMkLst>
            <pc:docMk/>
            <pc:sldMk cId="2525707367" sldId="272"/>
            <ac:spMk id="5" creationId="{AEEBF140-B757-413E-7EC8-737EE86AFB77}"/>
          </ac:spMkLst>
        </pc:spChg>
      </pc:sldChg>
      <pc:sldChg chg="delSp modSp mod delAnim modAnim">
        <pc:chgData name="Fernando Enrique Nuñez Zapata" userId="4887fb29-3871-42a7-b0aa-ea8d45a5c181" providerId="ADAL" clId="{8E34F22B-B89A-43FC-B613-F065E8C2BDB6}" dt="2024-08-22T20:07:04.780" v="3369"/>
        <pc:sldMkLst>
          <pc:docMk/>
          <pc:sldMk cId="3859250616" sldId="2147310010"/>
        </pc:sldMkLst>
        <pc:spChg chg="mod">
          <ac:chgData name="Fernando Enrique Nuñez Zapata" userId="4887fb29-3871-42a7-b0aa-ea8d45a5c181" providerId="ADAL" clId="{8E34F22B-B89A-43FC-B613-F065E8C2BDB6}" dt="2024-08-15T15:07:02.828" v="45" actId="1037"/>
          <ac:spMkLst>
            <pc:docMk/>
            <pc:sldMk cId="3859250616" sldId="2147310010"/>
            <ac:spMk id="4" creationId="{7067248C-D7BB-C184-7999-60D7ACA0B5A6}"/>
          </ac:spMkLst>
        </pc:spChg>
        <pc:spChg chg="mod">
          <ac:chgData name="Fernando Enrique Nuñez Zapata" userId="4887fb29-3871-42a7-b0aa-ea8d45a5c181" providerId="ADAL" clId="{8E34F22B-B89A-43FC-B613-F065E8C2BDB6}" dt="2024-08-22T17:47:11.981" v="3333" actId="1076"/>
          <ac:spMkLst>
            <pc:docMk/>
            <pc:sldMk cId="3859250616" sldId="2147310010"/>
            <ac:spMk id="5" creationId="{F4BE04F7-C72A-089C-779D-D1A62994E475}"/>
          </ac:spMkLst>
        </pc:spChg>
        <pc:spChg chg="mod">
          <ac:chgData name="Fernando Enrique Nuñez Zapata" userId="4887fb29-3871-42a7-b0aa-ea8d45a5c181" providerId="ADAL" clId="{8E34F22B-B89A-43FC-B613-F065E8C2BDB6}" dt="2024-08-20T21:08:11.581" v="1525" actId="1035"/>
          <ac:spMkLst>
            <pc:docMk/>
            <pc:sldMk cId="3859250616" sldId="2147310010"/>
            <ac:spMk id="11" creationId="{DC3BD483-F9C1-8DFE-E338-7EA0168F4F08}"/>
          </ac:spMkLst>
        </pc:spChg>
        <pc:spChg chg="mod">
          <ac:chgData name="Fernando Enrique Nuñez Zapata" userId="4887fb29-3871-42a7-b0aa-ea8d45a5c181" providerId="ADAL" clId="{8E34F22B-B89A-43FC-B613-F065E8C2BDB6}" dt="2024-08-22T17:47:11.981" v="3333" actId="1076"/>
          <ac:spMkLst>
            <pc:docMk/>
            <pc:sldMk cId="3859250616" sldId="2147310010"/>
            <ac:spMk id="18" creationId="{759FCAA5-0F4B-EA09-2DB6-65D631756F27}"/>
          </ac:spMkLst>
        </pc:spChg>
        <pc:spChg chg="mod">
          <ac:chgData name="Fernando Enrique Nuñez Zapata" userId="4887fb29-3871-42a7-b0aa-ea8d45a5c181" providerId="ADAL" clId="{8E34F22B-B89A-43FC-B613-F065E8C2BDB6}" dt="2024-08-15T15:07:02.828" v="45" actId="1037"/>
          <ac:spMkLst>
            <pc:docMk/>
            <pc:sldMk cId="3859250616" sldId="2147310010"/>
            <ac:spMk id="20" creationId="{0024B762-D114-F046-5A8A-9FD72FB66685}"/>
          </ac:spMkLst>
        </pc:spChg>
        <pc:spChg chg="mod">
          <ac:chgData name="Fernando Enrique Nuñez Zapata" userId="4887fb29-3871-42a7-b0aa-ea8d45a5c181" providerId="ADAL" clId="{8E34F22B-B89A-43FC-B613-F065E8C2BDB6}" dt="2024-08-20T21:08:19.849" v="1552" actId="1035"/>
          <ac:spMkLst>
            <pc:docMk/>
            <pc:sldMk cId="3859250616" sldId="2147310010"/>
            <ac:spMk id="99" creationId="{C0D5A59D-44DB-E684-9DB1-3A9CDE79691A}"/>
          </ac:spMkLst>
        </pc:spChg>
        <pc:spChg chg="mod">
          <ac:chgData name="Fernando Enrique Nuñez Zapata" userId="4887fb29-3871-42a7-b0aa-ea8d45a5c181" providerId="ADAL" clId="{8E34F22B-B89A-43FC-B613-F065E8C2BDB6}" dt="2024-08-15T15:07:02.828" v="45" actId="1037"/>
          <ac:spMkLst>
            <pc:docMk/>
            <pc:sldMk cId="3859250616" sldId="2147310010"/>
            <ac:spMk id="101" creationId="{F56E5407-E8CF-1457-A0E3-B6C96658378F}"/>
          </ac:spMkLst>
        </pc:spChg>
        <pc:spChg chg="mod">
          <ac:chgData name="Fernando Enrique Nuñez Zapata" userId="4887fb29-3871-42a7-b0aa-ea8d45a5c181" providerId="ADAL" clId="{8E34F22B-B89A-43FC-B613-F065E8C2BDB6}" dt="2024-08-22T17:46:57.210" v="3331" actId="6549"/>
          <ac:spMkLst>
            <pc:docMk/>
            <pc:sldMk cId="3859250616" sldId="2147310010"/>
            <ac:spMk id="102" creationId="{80DD0410-EF02-293E-A16A-F38EC64F2229}"/>
          </ac:spMkLst>
        </pc:spChg>
        <pc:spChg chg="mod">
          <ac:chgData name="Fernando Enrique Nuñez Zapata" userId="4887fb29-3871-42a7-b0aa-ea8d45a5c181" providerId="ADAL" clId="{8E34F22B-B89A-43FC-B613-F065E8C2BDB6}" dt="2024-08-15T15:07:02.828" v="45" actId="1037"/>
          <ac:spMkLst>
            <pc:docMk/>
            <pc:sldMk cId="3859250616" sldId="2147310010"/>
            <ac:spMk id="105" creationId="{73D40486-DE55-3DA7-2940-6686DB4563A5}"/>
          </ac:spMkLst>
        </pc:spChg>
        <pc:spChg chg="mod">
          <ac:chgData name="Fernando Enrique Nuñez Zapata" userId="4887fb29-3871-42a7-b0aa-ea8d45a5c181" providerId="ADAL" clId="{8E34F22B-B89A-43FC-B613-F065E8C2BDB6}" dt="2024-08-20T21:08:15.150" v="1535" actId="1035"/>
          <ac:spMkLst>
            <pc:docMk/>
            <pc:sldMk cId="3859250616" sldId="2147310010"/>
            <ac:spMk id="106" creationId="{72116619-BA42-BEBD-B68B-E4E2C0E492F0}"/>
          </ac:spMkLst>
        </pc:spChg>
        <pc:spChg chg="mod">
          <ac:chgData name="Fernando Enrique Nuñez Zapata" userId="4887fb29-3871-42a7-b0aa-ea8d45a5c181" providerId="ADAL" clId="{8E34F22B-B89A-43FC-B613-F065E8C2BDB6}" dt="2024-08-22T17:47:11.981" v="3333" actId="1076"/>
          <ac:spMkLst>
            <pc:docMk/>
            <pc:sldMk cId="3859250616" sldId="2147310010"/>
            <ac:spMk id="128" creationId="{F2315BB7-FBF3-84B1-9E97-AF4A3D6EEAF1}"/>
          </ac:spMkLst>
        </pc:spChg>
        <pc:spChg chg="del mod">
          <ac:chgData name="Fernando Enrique Nuñez Zapata" userId="4887fb29-3871-42a7-b0aa-ea8d45a5c181" providerId="ADAL" clId="{8E34F22B-B89A-43FC-B613-F065E8C2BDB6}" dt="2024-08-22T17:47:00.547" v="3332" actId="478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Fernando Enrique Nuñez Zapata" userId="4887fb29-3871-42a7-b0aa-ea8d45a5c181" providerId="ADAL" clId="{8E34F22B-B89A-43FC-B613-F065E8C2BDB6}" dt="2024-08-22T17:47:11.981" v="3333" actId="1076"/>
          <ac:spMkLst>
            <pc:docMk/>
            <pc:sldMk cId="3859250616" sldId="2147310010"/>
            <ac:spMk id="130" creationId="{1C78E1CB-3E5F-962B-D1F3-2168A7EA4945}"/>
          </ac:spMkLst>
        </pc:spChg>
        <pc:grpChg chg="mod">
          <ac:chgData name="Fernando Enrique Nuñez Zapata" userId="4887fb29-3871-42a7-b0aa-ea8d45a5c181" providerId="ADAL" clId="{8E34F22B-B89A-43FC-B613-F065E8C2BDB6}" dt="2024-08-15T15:07:02.828" v="45" actId="1037"/>
          <ac:grpSpMkLst>
            <pc:docMk/>
            <pc:sldMk cId="3859250616" sldId="2147310010"/>
            <ac:grpSpMk id="19" creationId="{B63DE317-0B7F-07F3-02DC-C07F39DD420B}"/>
          </ac:grpSpMkLst>
        </pc:grpChg>
        <pc:grpChg chg="mod">
          <ac:chgData name="Fernando Enrique Nuñez Zapata" userId="4887fb29-3871-42a7-b0aa-ea8d45a5c181" providerId="ADAL" clId="{8E34F22B-B89A-43FC-B613-F065E8C2BDB6}" dt="2024-08-15T15:05:57.876" v="24" actId="1037"/>
          <ac:grpSpMkLst>
            <pc:docMk/>
            <pc:sldMk cId="3859250616" sldId="2147310010"/>
            <ac:grpSpMk id="56" creationId="{26C36EE6-18F1-C2AF-B99B-694EAD485BC0}"/>
          </ac:grpSpMkLst>
        </pc:grpChg>
        <pc:grpChg chg="mod">
          <ac:chgData name="Fernando Enrique Nuñez Zapata" userId="4887fb29-3871-42a7-b0aa-ea8d45a5c181" providerId="ADAL" clId="{8E34F22B-B89A-43FC-B613-F065E8C2BDB6}" dt="2024-08-15T15:07:02.828" v="45" actId="1037"/>
          <ac:grpSpMkLst>
            <pc:docMk/>
            <pc:sldMk cId="3859250616" sldId="2147310010"/>
            <ac:grpSpMk id="111" creationId="{528DFC98-4198-10D5-8D8E-A5F6039611C8}"/>
          </ac:grpSpMkLst>
        </pc:grpChg>
        <pc:graphicFrameChg chg="mod modGraphic">
          <ac:chgData name="Fernando Enrique Nuñez Zapata" userId="4887fb29-3871-42a7-b0aa-ea8d45a5c181" providerId="ADAL" clId="{8E34F22B-B89A-43FC-B613-F065E8C2BDB6}" dt="2024-08-20T21:09:33.954" v="1567" actId="108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Graphic">
          <ac:chgData name="Fernando Enrique Nuñez Zapata" userId="4887fb29-3871-42a7-b0aa-ea8d45a5c181" providerId="ADAL" clId="{8E34F22B-B89A-43FC-B613-F065E8C2BDB6}" dt="2024-08-15T15:41:44.237" v="432" actId="798"/>
          <ac:graphicFrameMkLst>
            <pc:docMk/>
            <pc:sldMk cId="3859250616" sldId="2147310010"/>
            <ac:graphicFrameMk id="49" creationId="{88FCF8A2-08D8-B125-B8AF-5C065C1F1ADF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7:02:16.002" v="2435" actId="20577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6:55:31.086" v="2337" actId="404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cxnChg chg="mod">
          <ac:chgData name="Fernando Enrique Nuñez Zapata" userId="4887fb29-3871-42a7-b0aa-ea8d45a5c181" providerId="ADAL" clId="{8E34F22B-B89A-43FC-B613-F065E8C2BDB6}" dt="2024-08-15T15:05:57.876" v="24" actId="1037"/>
          <ac:cxnSpMkLst>
            <pc:docMk/>
            <pc:sldMk cId="3859250616" sldId="2147310010"/>
            <ac:cxnSpMk id="51" creationId="{C206E334-3B8E-C988-A1A2-955D965AC5FD}"/>
          </ac:cxnSpMkLst>
        </pc:cxnChg>
      </pc:sldChg>
      <pc:sldChg chg="delSp modSp mod addAnim delAnim modAnim">
        <pc:chgData name="Fernando Enrique Nuñez Zapata" userId="4887fb29-3871-42a7-b0aa-ea8d45a5c181" providerId="ADAL" clId="{8E34F22B-B89A-43FC-B613-F065E8C2BDB6}" dt="2024-08-22T20:09:26.769" v="3373"/>
        <pc:sldMkLst>
          <pc:docMk/>
          <pc:sldMk cId="659418568" sldId="2147310011"/>
        </pc:sldMkLst>
        <pc:spChg chg="mod">
          <ac:chgData name="Fernando Enrique Nuñez Zapata" userId="4887fb29-3871-42a7-b0aa-ea8d45a5c181" providerId="ADAL" clId="{8E34F22B-B89A-43FC-B613-F065E8C2BDB6}" dt="2024-08-22T17:47:26.522" v="3335" actId="6549"/>
          <ac:spMkLst>
            <pc:docMk/>
            <pc:sldMk cId="659418568" sldId="2147310011"/>
            <ac:spMk id="7" creationId="{B4E3CC02-00CB-686C-B6AA-8EB7AE4E4E80}"/>
          </ac:spMkLst>
        </pc:spChg>
        <pc:spChg chg="mod">
          <ac:chgData name="Fernando Enrique Nuñez Zapata" userId="4887fb29-3871-42a7-b0aa-ea8d45a5c181" providerId="ADAL" clId="{8E34F22B-B89A-43FC-B613-F065E8C2BDB6}" dt="2024-08-20T21:11:18.295" v="1607" actId="1035"/>
          <ac:spMkLst>
            <pc:docMk/>
            <pc:sldMk cId="659418568" sldId="2147310011"/>
            <ac:spMk id="10" creationId="{D5E651B5-AC20-A328-3F4F-30292580B6AF}"/>
          </ac:spMkLst>
        </pc:spChg>
        <pc:spChg chg="mod">
          <ac:chgData name="Fernando Enrique Nuñez Zapata" userId="4887fb29-3871-42a7-b0aa-ea8d45a5c181" providerId="ADAL" clId="{8E34F22B-B89A-43FC-B613-F065E8C2BDB6}" dt="2024-08-15T15:19:44.347" v="143" actId="1035"/>
          <ac:spMkLst>
            <pc:docMk/>
            <pc:sldMk cId="659418568" sldId="2147310011"/>
            <ac:spMk id="11" creationId="{07C7B54A-55DA-D36E-82D3-76771CF774CD}"/>
          </ac:spMkLst>
        </pc:spChg>
        <pc:spChg chg="mod">
          <ac:chgData name="Fernando Enrique Nuñez Zapata" userId="4887fb29-3871-42a7-b0aa-ea8d45a5c181" providerId="ADAL" clId="{8E34F22B-B89A-43FC-B613-F065E8C2BDB6}" dt="2024-08-15T15:21:31.989" v="172" actId="1076"/>
          <ac:spMkLst>
            <pc:docMk/>
            <pc:sldMk cId="659418568" sldId="2147310011"/>
            <ac:spMk id="13" creationId="{A7F9AE06-D696-4934-3E94-C88F1F554421}"/>
          </ac:spMkLst>
        </pc:spChg>
        <pc:spChg chg="mod">
          <ac:chgData name="Fernando Enrique Nuñez Zapata" userId="4887fb29-3871-42a7-b0aa-ea8d45a5c181" providerId="ADAL" clId="{8E34F22B-B89A-43FC-B613-F065E8C2BDB6}" dt="2024-08-22T17:47:56.485" v="3338" actId="552"/>
          <ac:spMkLst>
            <pc:docMk/>
            <pc:sldMk cId="659418568" sldId="2147310011"/>
            <ac:spMk id="19" creationId="{219F0228-A5E0-622A-2D4F-539E5C6179DC}"/>
          </ac:spMkLst>
        </pc:spChg>
        <pc:spChg chg="mod">
          <ac:chgData name="Fernando Enrique Nuñez Zapata" userId="4887fb29-3871-42a7-b0aa-ea8d45a5c181" providerId="ADAL" clId="{8E34F22B-B89A-43FC-B613-F065E8C2BDB6}" dt="2024-08-15T15:23:28.274" v="238" actId="1038"/>
          <ac:spMkLst>
            <pc:docMk/>
            <pc:sldMk cId="659418568" sldId="2147310011"/>
            <ac:spMk id="21" creationId="{5B959601-DD31-4729-C9B0-B57914C14169}"/>
          </ac:spMkLst>
        </pc:spChg>
        <pc:spChg chg="mod">
          <ac:chgData name="Fernando Enrique Nuñez Zapata" userId="4887fb29-3871-42a7-b0aa-ea8d45a5c181" providerId="ADAL" clId="{8E34F22B-B89A-43FC-B613-F065E8C2BDB6}" dt="2024-08-15T15:22:05.179" v="184" actId="1037"/>
          <ac:spMkLst>
            <pc:docMk/>
            <pc:sldMk cId="659418568" sldId="2147310011"/>
            <ac:spMk id="22" creationId="{45C3EB06-E612-7EBF-22B6-98E1A6FE3A4E}"/>
          </ac:spMkLst>
        </pc:spChg>
        <pc:spChg chg="mod">
          <ac:chgData name="Fernando Enrique Nuñez Zapata" userId="4887fb29-3871-42a7-b0aa-ea8d45a5c181" providerId="ADAL" clId="{8E34F22B-B89A-43FC-B613-F065E8C2BDB6}" dt="2024-08-20T21:11:10.125" v="1601" actId="1036"/>
          <ac:spMkLst>
            <pc:docMk/>
            <pc:sldMk cId="659418568" sldId="2147310011"/>
            <ac:spMk id="24" creationId="{4AF58815-663E-DAFF-D385-F59EF022E77C}"/>
          </ac:spMkLst>
        </pc:spChg>
        <pc:spChg chg="mod">
          <ac:chgData name="Fernando Enrique Nuñez Zapata" userId="4887fb29-3871-42a7-b0aa-ea8d45a5c181" providerId="ADAL" clId="{8E34F22B-B89A-43FC-B613-F065E8C2BDB6}" dt="2024-08-15T15:23:28.274" v="238" actId="1038"/>
          <ac:spMkLst>
            <pc:docMk/>
            <pc:sldMk cId="659418568" sldId="2147310011"/>
            <ac:spMk id="27" creationId="{7CF16DB1-945A-B93B-67A6-671788ECD334}"/>
          </ac:spMkLst>
        </pc:spChg>
        <pc:spChg chg="del mod">
          <ac:chgData name="Fernando Enrique Nuñez Zapata" userId="4887fb29-3871-42a7-b0aa-ea8d45a5c181" providerId="ADAL" clId="{8E34F22B-B89A-43FC-B613-F065E8C2BDB6}" dt="2024-08-22T17:47:29.302" v="3336" actId="478"/>
          <ac:spMkLst>
            <pc:docMk/>
            <pc:sldMk cId="659418568" sldId="2147310011"/>
            <ac:spMk id="46" creationId="{3700AA40-A3C7-6897-6731-84A9E7843935}"/>
          </ac:spMkLst>
        </pc:spChg>
        <pc:spChg chg="mod">
          <ac:chgData name="Fernando Enrique Nuñez Zapata" userId="4887fb29-3871-42a7-b0aa-ea8d45a5c181" providerId="ADAL" clId="{8E34F22B-B89A-43FC-B613-F065E8C2BDB6}" dt="2024-08-15T15:19:44.347" v="143" actId="1035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Fernando Enrique Nuñez Zapata" userId="4887fb29-3871-42a7-b0aa-ea8d45a5c181" providerId="ADAL" clId="{8E34F22B-B89A-43FC-B613-F065E8C2BDB6}" dt="2024-08-15T15:23:28.274" v="238" actId="1038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Fernando Enrique Nuñez Zapata" userId="4887fb29-3871-42a7-b0aa-ea8d45a5c181" providerId="ADAL" clId="{8E34F22B-B89A-43FC-B613-F065E8C2BDB6}" dt="2024-08-15T15:21:47.374" v="174" actId="1076"/>
          <ac:spMkLst>
            <pc:docMk/>
            <pc:sldMk cId="659418568" sldId="2147310011"/>
            <ac:spMk id="55" creationId="{72D4B0F3-8C67-0E29-74DD-A4B03B0101B3}"/>
          </ac:spMkLst>
        </pc:spChg>
        <pc:spChg chg="mod">
          <ac:chgData name="Fernando Enrique Nuñez Zapata" userId="4887fb29-3871-42a7-b0aa-ea8d45a5c181" providerId="ADAL" clId="{8E34F22B-B89A-43FC-B613-F065E8C2BDB6}" dt="2024-08-22T17:47:56.485" v="3338" actId="552"/>
          <ac:spMkLst>
            <pc:docMk/>
            <pc:sldMk cId="659418568" sldId="2147310011"/>
            <ac:spMk id="57" creationId="{4532FAF8-B96F-0731-BC66-4E3DB911091F}"/>
          </ac:spMkLst>
        </pc:spChg>
        <pc:spChg chg="mod">
          <ac:chgData name="Fernando Enrique Nuñez Zapata" userId="4887fb29-3871-42a7-b0aa-ea8d45a5c181" providerId="ADAL" clId="{8E34F22B-B89A-43FC-B613-F065E8C2BDB6}" dt="2024-08-15T15:23:08.627" v="233" actId="1038"/>
          <ac:spMkLst>
            <pc:docMk/>
            <pc:sldMk cId="659418568" sldId="2147310011"/>
            <ac:spMk id="69" creationId="{2CE55FB3-6E6B-F2B1-A24C-58E9F286C2FD}"/>
          </ac:spMkLst>
        </pc:spChg>
        <pc:spChg chg="mod">
          <ac:chgData name="Fernando Enrique Nuñez Zapata" userId="4887fb29-3871-42a7-b0aa-ea8d45a5c181" providerId="ADAL" clId="{8E34F22B-B89A-43FC-B613-F065E8C2BDB6}" dt="2024-08-15T15:17:31.650" v="114" actId="1037"/>
          <ac:spMkLst>
            <pc:docMk/>
            <pc:sldMk cId="659418568" sldId="2147310011"/>
            <ac:spMk id="76" creationId="{486AA1EF-B196-9E38-BC04-DFF376C6E289}"/>
          </ac:spMkLst>
        </pc:spChg>
        <pc:spChg chg="mod">
          <ac:chgData name="Fernando Enrique Nuñez Zapata" userId="4887fb29-3871-42a7-b0aa-ea8d45a5c181" providerId="ADAL" clId="{8E34F22B-B89A-43FC-B613-F065E8C2BDB6}" dt="2024-08-22T17:47:56.485" v="3338" actId="552"/>
          <ac:spMkLst>
            <pc:docMk/>
            <pc:sldMk cId="659418568" sldId="2147310011"/>
            <ac:spMk id="82" creationId="{9DA66A22-3529-8FEF-5426-9215D7B34A96}"/>
          </ac:spMkLst>
        </pc:spChg>
        <pc:spChg chg="mod">
          <ac:chgData name="Fernando Enrique Nuñez Zapata" userId="4887fb29-3871-42a7-b0aa-ea8d45a5c181" providerId="ADAL" clId="{8E34F22B-B89A-43FC-B613-F065E8C2BDB6}" dt="2024-08-15T15:21:37.653" v="173" actId="1076"/>
          <ac:spMkLst>
            <pc:docMk/>
            <pc:sldMk cId="659418568" sldId="2147310011"/>
            <ac:spMk id="85" creationId="{A190D0B4-92ED-1A31-8614-795A6D20A889}"/>
          </ac:spMkLst>
        </pc:spChg>
        <pc:spChg chg="del mod">
          <ac:chgData name="Fernando Enrique Nuñez Zapata" userId="4887fb29-3871-42a7-b0aa-ea8d45a5c181" providerId="ADAL" clId="{8E34F22B-B89A-43FC-B613-F065E8C2BDB6}" dt="2024-08-20T15:38:40.768" v="1337" actId="478"/>
          <ac:spMkLst>
            <pc:docMk/>
            <pc:sldMk cId="659418568" sldId="2147310011"/>
            <ac:spMk id="87" creationId="{B565D2E5-581F-DB11-AE84-8EF6D06094DA}"/>
          </ac:spMkLst>
        </pc:spChg>
        <pc:spChg chg="mod">
          <ac:chgData name="Fernando Enrique Nuñez Zapata" userId="4887fb29-3871-42a7-b0aa-ea8d45a5c181" providerId="ADAL" clId="{8E34F22B-B89A-43FC-B613-F065E8C2BDB6}" dt="2024-08-22T17:47:56.485" v="3338" actId="552"/>
          <ac:spMkLst>
            <pc:docMk/>
            <pc:sldMk cId="659418568" sldId="2147310011"/>
            <ac:spMk id="89" creationId="{EC857750-AAEC-B371-0D41-2B19DAC5B150}"/>
          </ac:spMkLst>
        </pc:spChg>
        <pc:grpChg chg="mod">
          <ac:chgData name="Fernando Enrique Nuñez Zapata" userId="4887fb29-3871-42a7-b0aa-ea8d45a5c181" providerId="ADAL" clId="{8E34F22B-B89A-43FC-B613-F065E8C2BDB6}" dt="2024-08-15T15:23:08.627" v="233" actId="1038"/>
          <ac:grpSpMkLst>
            <pc:docMk/>
            <pc:sldMk cId="659418568" sldId="2147310011"/>
            <ac:grpSpMk id="15" creationId="{D64C4FA5-BF9B-4CB0-A633-7699FF995123}"/>
          </ac:grpSpMkLst>
        </pc:grpChg>
        <pc:grpChg chg="mod">
          <ac:chgData name="Fernando Enrique Nuñez Zapata" userId="4887fb29-3871-42a7-b0aa-ea8d45a5c181" providerId="ADAL" clId="{8E34F22B-B89A-43FC-B613-F065E8C2BDB6}" dt="2024-08-15T15:23:08.627" v="233" actId="1038"/>
          <ac:grpSpMkLst>
            <pc:docMk/>
            <pc:sldMk cId="659418568" sldId="2147310011"/>
            <ac:grpSpMk id="49" creationId="{E66F7FBF-FECD-E554-AD22-C19BBA805E30}"/>
          </ac:grpSpMkLst>
        </pc:grpChg>
        <pc:graphicFrameChg chg="mod modGraphic">
          <ac:chgData name="Fernando Enrique Nuñez Zapata" userId="4887fb29-3871-42a7-b0aa-ea8d45a5c181" providerId="ADAL" clId="{8E34F22B-B89A-43FC-B613-F065E8C2BDB6}" dt="2024-08-15T15:41:27.271" v="431" actId="798"/>
          <ac:graphicFrameMkLst>
            <pc:docMk/>
            <pc:sldMk cId="659418568" sldId="2147310011"/>
            <ac:graphicFrameMk id="8" creationId="{269AA73C-52E3-A76D-1E91-03A77131E48B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7:17:04.804" v="2603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7:03:42.556" v="2461" actId="20577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6:57:40.902" v="2370" actId="20577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cxnChg chg="mod">
          <ac:chgData name="Fernando Enrique Nuñez Zapata" userId="4887fb29-3871-42a7-b0aa-ea8d45a5c181" providerId="ADAL" clId="{8E34F22B-B89A-43FC-B613-F065E8C2BDB6}" dt="2024-08-15T15:23:08.627" v="233" actId="1038"/>
          <ac:cxnSpMkLst>
            <pc:docMk/>
            <pc:sldMk cId="659418568" sldId="2147310011"/>
            <ac:cxnSpMk id="62" creationId="{7B36099A-E565-13EE-8397-B196138F5BA3}"/>
          </ac:cxnSpMkLst>
        </pc:cxnChg>
        <pc:cxnChg chg="mod">
          <ac:chgData name="Fernando Enrique Nuñez Zapata" userId="4887fb29-3871-42a7-b0aa-ea8d45a5c181" providerId="ADAL" clId="{8E34F22B-B89A-43FC-B613-F065E8C2BDB6}" dt="2024-08-15T15:23:08.627" v="233" actId="1038"/>
          <ac:cxnSpMkLst>
            <pc:docMk/>
            <pc:sldMk cId="659418568" sldId="2147310011"/>
            <ac:cxnSpMk id="73" creationId="{3697CCAC-0E37-6A28-ED96-031DCEA4FC70}"/>
          </ac:cxnSpMkLst>
        </pc:cxnChg>
      </pc:sldChg>
      <pc:sldChg chg="delSp modSp mod addAnim delAnim modAnim">
        <pc:chgData name="Fernando Enrique Nuñez Zapata" userId="4887fb29-3871-42a7-b0aa-ea8d45a5c181" providerId="ADAL" clId="{8E34F22B-B89A-43FC-B613-F065E8C2BDB6}" dt="2024-08-22T20:17:11.386" v="3388"/>
        <pc:sldMkLst>
          <pc:docMk/>
          <pc:sldMk cId="1253964456" sldId="2147310012"/>
        </pc:sldMkLst>
        <pc:spChg chg="mod">
          <ac:chgData name="Fernando Enrique Nuñez Zapata" userId="4887fb29-3871-42a7-b0aa-ea8d45a5c181" providerId="ADAL" clId="{8E34F22B-B89A-43FC-B613-F065E8C2BDB6}" dt="2024-08-15T15:27:12.863" v="284" actId="1038"/>
          <ac:spMkLst>
            <pc:docMk/>
            <pc:sldMk cId="1253964456" sldId="2147310012"/>
            <ac:spMk id="4" creationId="{4CFB68E7-01DD-37B7-6A57-4F8E9D57FA4A}"/>
          </ac:spMkLst>
        </pc:spChg>
        <pc:spChg chg="mod">
          <ac:chgData name="Fernando Enrique Nuñez Zapata" userId="4887fb29-3871-42a7-b0aa-ea8d45a5c181" providerId="ADAL" clId="{8E34F22B-B89A-43FC-B613-F065E8C2BDB6}" dt="2024-08-20T21:11:50.722" v="1618" actId="1035"/>
          <ac:spMkLst>
            <pc:docMk/>
            <pc:sldMk cId="1253964456" sldId="2147310012"/>
            <ac:spMk id="8" creationId="{48FA6392-943C-70EF-9D32-01F15962CFC3}"/>
          </ac:spMkLst>
        </pc:spChg>
        <pc:spChg chg="del">
          <ac:chgData name="Fernando Enrique Nuñez Zapata" userId="4887fb29-3871-42a7-b0aa-ea8d45a5c181" providerId="ADAL" clId="{8E34F22B-B89A-43FC-B613-F065E8C2BDB6}" dt="2024-08-20T15:39:31.159" v="1399" actId="478"/>
          <ac:spMkLst>
            <pc:docMk/>
            <pc:sldMk cId="1253964456" sldId="2147310012"/>
            <ac:spMk id="10" creationId="{69FB36FE-1D00-899A-FA20-C8453DA91FDE}"/>
          </ac:spMkLst>
        </pc:spChg>
        <pc:spChg chg="mod">
          <ac:chgData name="Fernando Enrique Nuñez Zapata" userId="4887fb29-3871-42a7-b0aa-ea8d45a5c181" providerId="ADAL" clId="{8E34F22B-B89A-43FC-B613-F065E8C2BDB6}" dt="2024-08-20T21:11:50.722" v="1618" actId="1035"/>
          <ac:spMkLst>
            <pc:docMk/>
            <pc:sldMk cId="1253964456" sldId="2147310012"/>
            <ac:spMk id="11" creationId="{49ED0FCD-5613-96D5-076D-A718AB6A8B28}"/>
          </ac:spMkLst>
        </pc:spChg>
        <pc:spChg chg="mod">
          <ac:chgData name="Fernando Enrique Nuñez Zapata" userId="4887fb29-3871-42a7-b0aa-ea8d45a5c181" providerId="ADAL" clId="{8E34F22B-B89A-43FC-B613-F065E8C2BDB6}" dt="2024-08-20T21:11:50.722" v="1618" actId="1035"/>
          <ac:spMkLst>
            <pc:docMk/>
            <pc:sldMk cId="1253964456" sldId="2147310012"/>
            <ac:spMk id="14" creationId="{B1F93DCD-E9E3-897E-7C6E-82374D51B591}"/>
          </ac:spMkLst>
        </pc:spChg>
        <pc:spChg chg="mod">
          <ac:chgData name="Fernando Enrique Nuñez Zapata" userId="4887fb29-3871-42a7-b0aa-ea8d45a5c181" providerId="ADAL" clId="{8E34F22B-B89A-43FC-B613-F065E8C2BDB6}" dt="2024-08-15T15:27:12.863" v="284" actId="1038"/>
          <ac:spMkLst>
            <pc:docMk/>
            <pc:sldMk cId="1253964456" sldId="2147310012"/>
            <ac:spMk id="17" creationId="{89FE72E6-6CF0-FA38-C541-ACF691A16BEC}"/>
          </ac:spMkLst>
        </pc:spChg>
        <pc:spChg chg="mod">
          <ac:chgData name="Fernando Enrique Nuñez Zapata" userId="4887fb29-3871-42a7-b0aa-ea8d45a5c181" providerId="ADAL" clId="{8E34F22B-B89A-43FC-B613-F065E8C2BDB6}" dt="2024-08-20T21:11:50.722" v="1618" actId="1035"/>
          <ac:spMkLst>
            <pc:docMk/>
            <pc:sldMk cId="1253964456" sldId="2147310012"/>
            <ac:spMk id="19" creationId="{758D576D-F9E2-9621-8DEB-E1A178609AC3}"/>
          </ac:spMkLst>
        </pc:spChg>
        <pc:spChg chg="mod">
          <ac:chgData name="Fernando Enrique Nuñez Zapata" userId="4887fb29-3871-42a7-b0aa-ea8d45a5c181" providerId="ADAL" clId="{8E34F22B-B89A-43FC-B613-F065E8C2BDB6}" dt="2024-08-15T15:27:12.863" v="284" actId="1038"/>
          <ac:spMkLst>
            <pc:docMk/>
            <pc:sldMk cId="1253964456" sldId="2147310012"/>
            <ac:spMk id="28" creationId="{71384855-0396-A9B4-27BE-26F7E46581BD}"/>
          </ac:spMkLst>
        </pc:spChg>
        <pc:spChg chg="mod">
          <ac:chgData name="Fernando Enrique Nuñez Zapata" userId="4887fb29-3871-42a7-b0aa-ea8d45a5c181" providerId="ADAL" clId="{8E34F22B-B89A-43FC-B613-F065E8C2BDB6}" dt="2024-08-20T21:11:50.722" v="1618" actId="1035"/>
          <ac:spMkLst>
            <pc:docMk/>
            <pc:sldMk cId="1253964456" sldId="2147310012"/>
            <ac:spMk id="29" creationId="{6B3361AF-38C6-2BB3-EBD1-85509DB8CC4E}"/>
          </ac:spMkLst>
        </pc:spChg>
        <pc:spChg chg="mod">
          <ac:chgData name="Fernando Enrique Nuñez Zapata" userId="4887fb29-3871-42a7-b0aa-ea8d45a5c181" providerId="ADAL" clId="{8E34F22B-B89A-43FC-B613-F065E8C2BDB6}" dt="2024-08-22T20:15:53.493" v="3386" actId="1076"/>
          <ac:spMkLst>
            <pc:docMk/>
            <pc:sldMk cId="1253964456" sldId="2147310012"/>
            <ac:spMk id="47" creationId="{2E57ADB3-7ACA-8883-51D0-B8068BEA1A53}"/>
          </ac:spMkLst>
        </pc:spChg>
        <pc:spChg chg="mod">
          <ac:chgData name="Fernando Enrique Nuñez Zapata" userId="4887fb29-3871-42a7-b0aa-ea8d45a5c181" providerId="ADAL" clId="{8E34F22B-B89A-43FC-B613-F065E8C2BDB6}" dt="2024-08-15T15:27:12.863" v="284" actId="1038"/>
          <ac:spMkLst>
            <pc:docMk/>
            <pc:sldMk cId="1253964456" sldId="2147310012"/>
            <ac:spMk id="53" creationId="{FA42AA40-A391-EC6A-40D7-8F46A9ED8DE4}"/>
          </ac:spMkLst>
        </pc:spChg>
        <pc:graphicFrameChg chg="mod modGraphic">
          <ac:chgData name="Fernando Enrique Nuñez Zapata" userId="4887fb29-3871-42a7-b0aa-ea8d45a5c181" providerId="ADAL" clId="{8E34F22B-B89A-43FC-B613-F065E8C2BDB6}" dt="2024-08-20T21:10:17.972" v="1581" actId="2057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7:05:28.272" v="2477" actId="20577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6:59:06.224" v="2390" actId="404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  <pc:graphicFrameChg chg="modGraphic">
          <ac:chgData name="Fernando Enrique Nuñez Zapata" userId="4887fb29-3871-42a7-b0aa-ea8d45a5c181" providerId="ADAL" clId="{8E34F22B-B89A-43FC-B613-F065E8C2BDB6}" dt="2024-08-15T15:40:39.523" v="424" actId="798"/>
          <ac:graphicFrameMkLst>
            <pc:docMk/>
            <pc:sldMk cId="1253964456" sldId="2147310012"/>
            <ac:graphicFrameMk id="116" creationId="{3A0C57E6-135A-4CDE-2036-FCFC5749E4BD}"/>
          </ac:graphicFrameMkLst>
        </pc:graphicFrameChg>
        <pc:picChg chg="ord">
          <ac:chgData name="Fernando Enrique Nuñez Zapata" userId="4887fb29-3871-42a7-b0aa-ea8d45a5c181" providerId="ADAL" clId="{8E34F22B-B89A-43FC-B613-F065E8C2BDB6}" dt="2024-08-22T20:14:57.640" v="3379" actId="167"/>
          <ac:picMkLst>
            <pc:docMk/>
            <pc:sldMk cId="1253964456" sldId="2147310012"/>
            <ac:picMk id="42" creationId="{6742BB03-F52F-DC32-BA29-CA0D900F6929}"/>
          </ac:picMkLst>
        </pc:picChg>
        <pc:cxnChg chg="mod">
          <ac:chgData name="Fernando Enrique Nuñez Zapata" userId="4887fb29-3871-42a7-b0aa-ea8d45a5c181" providerId="ADAL" clId="{8E34F22B-B89A-43FC-B613-F065E8C2BDB6}" dt="2024-08-15T15:27:12.863" v="284" actId="1038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Fernando Enrique Nuñez Zapata" userId="4887fb29-3871-42a7-b0aa-ea8d45a5c181" providerId="ADAL" clId="{8E34F22B-B89A-43FC-B613-F065E8C2BDB6}" dt="2024-08-15T15:27:12.863" v="284" actId="1038"/>
          <ac:cxnSpMkLst>
            <pc:docMk/>
            <pc:sldMk cId="1253964456" sldId="2147310012"/>
            <ac:cxnSpMk id="26" creationId="{BAFC660C-DB27-024A-8264-141ACA3FE584}"/>
          </ac:cxnSpMkLst>
        </pc:cxnChg>
      </pc:sldChg>
      <pc:sldChg chg="addSp delSp modSp mod addAnim delAnim modAnim">
        <pc:chgData name="Fernando Enrique Nuñez Zapata" userId="4887fb29-3871-42a7-b0aa-ea8d45a5c181" providerId="ADAL" clId="{8E34F22B-B89A-43FC-B613-F065E8C2BDB6}" dt="2024-08-22T20:18:44.865" v="3391"/>
        <pc:sldMkLst>
          <pc:docMk/>
          <pc:sldMk cId="3220162634" sldId="2147310013"/>
        </pc:sldMkLst>
        <pc:spChg chg="mod">
          <ac:chgData name="Fernando Enrique Nuñez Zapata" userId="4887fb29-3871-42a7-b0aa-ea8d45a5c181" providerId="ADAL" clId="{8E34F22B-B89A-43FC-B613-F065E8C2BDB6}" dt="2024-08-22T17:33:27.216" v="3076" actId="20577"/>
          <ac:spMkLst>
            <pc:docMk/>
            <pc:sldMk cId="3220162634" sldId="2147310013"/>
            <ac:spMk id="4" creationId="{214813B5-CFED-29B4-BF6F-6CDF2DFD1998}"/>
          </ac:spMkLst>
        </pc:spChg>
        <pc:spChg chg="mod">
          <ac:chgData name="Fernando Enrique Nuñez Zapata" userId="4887fb29-3871-42a7-b0aa-ea8d45a5c181" providerId="ADAL" clId="{8E34F22B-B89A-43FC-B613-F065E8C2BDB6}" dt="2024-08-22T17:32:54.585" v="3070" actId="1076"/>
          <ac:spMkLst>
            <pc:docMk/>
            <pc:sldMk cId="3220162634" sldId="2147310013"/>
            <ac:spMk id="5" creationId="{DCFC370B-44D8-91ED-9C38-441986C9E4BE}"/>
          </ac:spMkLst>
        </pc:spChg>
        <pc:spChg chg="mod">
          <ac:chgData name="Fernando Enrique Nuñez Zapata" userId="4887fb29-3871-42a7-b0aa-ea8d45a5c181" providerId="ADAL" clId="{8E34F22B-B89A-43FC-B613-F065E8C2BDB6}" dt="2024-08-19T16:59:30.890" v="951" actId="1076"/>
          <ac:spMkLst>
            <pc:docMk/>
            <pc:sldMk cId="3220162634" sldId="2147310013"/>
            <ac:spMk id="8" creationId="{796FAE6D-544B-0F2A-4D80-0D93C6DAC61E}"/>
          </ac:spMkLst>
        </pc:spChg>
        <pc:spChg chg="del">
          <ac:chgData name="Fernando Enrique Nuñez Zapata" userId="4887fb29-3871-42a7-b0aa-ea8d45a5c181" providerId="ADAL" clId="{8E34F22B-B89A-43FC-B613-F065E8C2BDB6}" dt="2024-08-22T17:32:35.166" v="3069" actId="478"/>
          <ac:spMkLst>
            <pc:docMk/>
            <pc:sldMk cId="3220162634" sldId="2147310013"/>
            <ac:spMk id="16" creationId="{6F37DDB0-9DF4-9B80-6878-B28A1F0EBCDF}"/>
          </ac:spMkLst>
        </pc:spChg>
        <pc:spChg chg="mod">
          <ac:chgData name="Fernando Enrique Nuñez Zapata" userId="4887fb29-3871-42a7-b0aa-ea8d45a5c181" providerId="ADAL" clId="{8E34F22B-B89A-43FC-B613-F065E8C2BDB6}" dt="2024-08-22T17:32:54.585" v="3070" actId="1076"/>
          <ac:spMkLst>
            <pc:docMk/>
            <pc:sldMk cId="3220162634" sldId="2147310013"/>
            <ac:spMk id="19" creationId="{555F3443-61F8-91D4-34FD-2C3A2C66E1A2}"/>
          </ac:spMkLst>
        </pc:spChg>
        <pc:spChg chg="mod">
          <ac:chgData name="Fernando Enrique Nuñez Zapata" userId="4887fb29-3871-42a7-b0aa-ea8d45a5c181" providerId="ADAL" clId="{8E34F22B-B89A-43FC-B613-F065E8C2BDB6}" dt="2024-08-15T15:34:33.998" v="355" actId="1038"/>
          <ac:spMkLst>
            <pc:docMk/>
            <pc:sldMk cId="3220162634" sldId="2147310013"/>
            <ac:spMk id="21" creationId="{1D59CAD0-FAC0-0B32-FD2A-220A16AB290B}"/>
          </ac:spMkLst>
        </pc:spChg>
        <pc:spChg chg="mod">
          <ac:chgData name="Fernando Enrique Nuñez Zapata" userId="4887fb29-3871-42a7-b0aa-ea8d45a5c181" providerId="ADAL" clId="{8E34F22B-B89A-43FC-B613-F065E8C2BDB6}" dt="2024-08-15T15:34:47.430" v="369" actId="1038"/>
          <ac:spMkLst>
            <pc:docMk/>
            <pc:sldMk cId="3220162634" sldId="2147310013"/>
            <ac:spMk id="23" creationId="{5C53E7DF-5446-8BB3-EAD8-2C4B22F3C78A}"/>
          </ac:spMkLst>
        </pc:spChg>
        <pc:spChg chg="mod">
          <ac:chgData name="Fernando Enrique Nuñez Zapata" userId="4887fb29-3871-42a7-b0aa-ea8d45a5c181" providerId="ADAL" clId="{8E34F22B-B89A-43FC-B613-F065E8C2BDB6}" dt="2024-08-15T15:34:33.998" v="355" actId="1038"/>
          <ac:spMkLst>
            <pc:docMk/>
            <pc:sldMk cId="3220162634" sldId="2147310013"/>
            <ac:spMk id="25" creationId="{60AEF0E8-673F-F364-6612-B8C442F48D75}"/>
          </ac:spMkLst>
        </pc:spChg>
        <pc:spChg chg="mod">
          <ac:chgData name="Fernando Enrique Nuñez Zapata" userId="4887fb29-3871-42a7-b0aa-ea8d45a5c181" providerId="ADAL" clId="{8E34F22B-B89A-43FC-B613-F065E8C2BDB6}" dt="2024-08-22T17:32:54.585" v="3070" actId="1076"/>
          <ac:spMkLst>
            <pc:docMk/>
            <pc:sldMk cId="3220162634" sldId="2147310013"/>
            <ac:spMk id="30" creationId="{1B3594EE-5C7D-88B2-19F1-0A643220AC5B}"/>
          </ac:spMkLst>
        </pc:spChg>
        <pc:spChg chg="mod">
          <ac:chgData name="Fernando Enrique Nuñez Zapata" userId="4887fb29-3871-42a7-b0aa-ea8d45a5c181" providerId="ADAL" clId="{8E34F22B-B89A-43FC-B613-F065E8C2BDB6}" dt="2024-08-15T17:00:53.421" v="535" actId="108"/>
          <ac:spMkLst>
            <pc:docMk/>
            <pc:sldMk cId="3220162634" sldId="2147310013"/>
            <ac:spMk id="35" creationId="{660E61DE-45BC-0E0F-46E9-F8EAC9D64F52}"/>
          </ac:spMkLst>
        </pc:spChg>
        <pc:spChg chg="mod">
          <ac:chgData name="Fernando Enrique Nuñez Zapata" userId="4887fb29-3871-42a7-b0aa-ea8d45a5c181" providerId="ADAL" clId="{8E34F22B-B89A-43FC-B613-F065E8C2BDB6}" dt="2024-08-19T16:59:30.890" v="951" actId="1076"/>
          <ac:spMkLst>
            <pc:docMk/>
            <pc:sldMk cId="3220162634" sldId="2147310013"/>
            <ac:spMk id="38" creationId="{01BD3907-257A-9B49-612D-779EAD43FA17}"/>
          </ac:spMkLst>
        </pc:spChg>
        <pc:spChg chg="mod">
          <ac:chgData name="Fernando Enrique Nuñez Zapata" userId="4887fb29-3871-42a7-b0aa-ea8d45a5c181" providerId="ADAL" clId="{8E34F22B-B89A-43FC-B613-F065E8C2BDB6}" dt="2024-08-22T17:32:54.585" v="3070" actId="1076"/>
          <ac:spMkLst>
            <pc:docMk/>
            <pc:sldMk cId="3220162634" sldId="2147310013"/>
            <ac:spMk id="39" creationId="{A09B774A-456B-D4AC-519A-D04D46F2BC7B}"/>
          </ac:spMkLst>
        </pc:spChg>
        <pc:spChg chg="mod">
          <ac:chgData name="Fernando Enrique Nuñez Zapata" userId="4887fb29-3871-42a7-b0aa-ea8d45a5c181" providerId="ADAL" clId="{8E34F22B-B89A-43FC-B613-F065E8C2BDB6}" dt="2024-08-15T19:29:39.789" v="635" actId="552"/>
          <ac:spMkLst>
            <pc:docMk/>
            <pc:sldMk cId="3220162634" sldId="2147310013"/>
            <ac:spMk id="43" creationId="{E63EF131-7846-D4F0-2789-901EB6BDCE06}"/>
          </ac:spMkLst>
        </pc:spChg>
        <pc:spChg chg="mod">
          <ac:chgData name="Fernando Enrique Nuñez Zapata" userId="4887fb29-3871-42a7-b0aa-ea8d45a5c181" providerId="ADAL" clId="{8E34F22B-B89A-43FC-B613-F065E8C2BDB6}" dt="2024-08-15T17:00:56.672" v="536" actId="108"/>
          <ac:spMkLst>
            <pc:docMk/>
            <pc:sldMk cId="3220162634" sldId="2147310013"/>
            <ac:spMk id="45" creationId="{75C8FE08-515A-EB70-D024-5DBFA8233DD6}"/>
          </ac:spMkLst>
        </pc:spChg>
        <pc:spChg chg="mod">
          <ac:chgData name="Fernando Enrique Nuñez Zapata" userId="4887fb29-3871-42a7-b0aa-ea8d45a5c181" providerId="ADAL" clId="{8E34F22B-B89A-43FC-B613-F065E8C2BDB6}" dt="2024-08-22T17:32:54.585" v="3070" actId="1076"/>
          <ac:spMkLst>
            <pc:docMk/>
            <pc:sldMk cId="3220162634" sldId="2147310013"/>
            <ac:spMk id="48" creationId="{00F49C6B-A09B-C3C2-0CA5-E99B0BDAC31D}"/>
          </ac:spMkLst>
        </pc:spChg>
        <pc:spChg chg="mod">
          <ac:chgData name="Fernando Enrique Nuñez Zapata" userId="4887fb29-3871-42a7-b0aa-ea8d45a5c181" providerId="ADAL" clId="{8E34F22B-B89A-43FC-B613-F065E8C2BDB6}" dt="2024-08-15T19:29:39.789" v="635" actId="552"/>
          <ac:spMkLst>
            <pc:docMk/>
            <pc:sldMk cId="3220162634" sldId="2147310013"/>
            <ac:spMk id="49" creationId="{94C21D5F-3108-E7D8-529D-85A9B3D0A42C}"/>
          </ac:spMkLst>
        </pc:spChg>
        <pc:spChg chg="mod">
          <ac:chgData name="Fernando Enrique Nuñez Zapata" userId="4887fb29-3871-42a7-b0aa-ea8d45a5c181" providerId="ADAL" clId="{8E34F22B-B89A-43FC-B613-F065E8C2BDB6}" dt="2024-08-15T19:29:39.789" v="635" actId="552"/>
          <ac:spMkLst>
            <pc:docMk/>
            <pc:sldMk cId="3220162634" sldId="2147310013"/>
            <ac:spMk id="51" creationId="{0CD4A289-3C44-D1B2-2F73-C6014134DA8A}"/>
          </ac:spMkLst>
        </pc:spChg>
        <pc:spChg chg="mod">
          <ac:chgData name="Fernando Enrique Nuñez Zapata" userId="4887fb29-3871-42a7-b0aa-ea8d45a5c181" providerId="ADAL" clId="{8E34F22B-B89A-43FC-B613-F065E8C2BDB6}" dt="2024-08-19T17:00:35.059" v="1052" actId="113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Fernando Enrique Nuñez Zapata" userId="4887fb29-3871-42a7-b0aa-ea8d45a5c181" providerId="ADAL" clId="{8E34F22B-B89A-43FC-B613-F065E8C2BDB6}" dt="2024-08-19T16:59:30.890" v="951" actId="1076"/>
          <ac:spMkLst>
            <pc:docMk/>
            <pc:sldMk cId="3220162634" sldId="2147310013"/>
            <ac:spMk id="53" creationId="{FA42AA40-A391-EC6A-40D7-8F46A9ED8DE4}"/>
          </ac:spMkLst>
        </pc:spChg>
        <pc:spChg chg="mod">
          <ac:chgData name="Fernando Enrique Nuñez Zapata" userId="4887fb29-3871-42a7-b0aa-ea8d45a5c181" providerId="ADAL" clId="{8E34F22B-B89A-43FC-B613-F065E8C2BDB6}" dt="2024-08-19T16:59:30.890" v="951" actId="1076"/>
          <ac:spMkLst>
            <pc:docMk/>
            <pc:sldMk cId="3220162634" sldId="2147310013"/>
            <ac:spMk id="55" creationId="{72D4B0F3-8C67-0E29-74DD-A4B03B0101B3}"/>
          </ac:spMkLst>
        </pc:spChg>
        <pc:spChg chg="mod">
          <ac:chgData name="Fernando Enrique Nuñez Zapata" userId="4887fb29-3871-42a7-b0aa-ea8d45a5c181" providerId="ADAL" clId="{8E34F22B-B89A-43FC-B613-F065E8C2BDB6}" dt="2024-08-15T19:29:39.789" v="635" actId="552"/>
          <ac:spMkLst>
            <pc:docMk/>
            <pc:sldMk cId="3220162634" sldId="2147310013"/>
            <ac:spMk id="59" creationId="{D3BDC942-011B-E1ED-FA9F-520DB38C267A}"/>
          </ac:spMkLst>
        </pc:spChg>
        <pc:spChg chg="mod">
          <ac:chgData name="Fernando Enrique Nuñez Zapata" userId="4887fb29-3871-42a7-b0aa-ea8d45a5c181" providerId="ADAL" clId="{8E34F22B-B89A-43FC-B613-F065E8C2BDB6}" dt="2024-08-15T17:00:43.103" v="532" actId="108"/>
          <ac:spMkLst>
            <pc:docMk/>
            <pc:sldMk cId="3220162634" sldId="2147310013"/>
            <ac:spMk id="73" creationId="{0B007C6D-4C3F-B487-65C8-7F386665F76F}"/>
          </ac:spMkLst>
        </pc:spChg>
        <pc:spChg chg="mod">
          <ac:chgData name="Fernando Enrique Nuñez Zapata" userId="4887fb29-3871-42a7-b0aa-ea8d45a5c181" providerId="ADAL" clId="{8E34F22B-B89A-43FC-B613-F065E8C2BDB6}" dt="2024-08-15T17:00:48.171" v="533" actId="108"/>
          <ac:spMkLst>
            <pc:docMk/>
            <pc:sldMk cId="3220162634" sldId="2147310013"/>
            <ac:spMk id="75" creationId="{EA6E0450-DBE4-4ED2-7D64-67B4F30EB7F2}"/>
          </ac:spMkLst>
        </pc:spChg>
        <pc:spChg chg="mod">
          <ac:chgData name="Fernando Enrique Nuñez Zapata" userId="4887fb29-3871-42a7-b0aa-ea8d45a5c181" providerId="ADAL" clId="{8E34F22B-B89A-43FC-B613-F065E8C2BDB6}" dt="2024-08-15T17:00:50.871" v="534" actId="108"/>
          <ac:spMkLst>
            <pc:docMk/>
            <pc:sldMk cId="3220162634" sldId="2147310013"/>
            <ac:spMk id="81" creationId="{A8E2FD3A-6FF2-3218-31E9-3DEC3B80B233}"/>
          </ac:spMkLst>
        </pc:spChg>
        <pc:spChg chg="mod">
          <ac:chgData name="Fernando Enrique Nuñez Zapata" userId="4887fb29-3871-42a7-b0aa-ea8d45a5c181" providerId="ADAL" clId="{8E34F22B-B89A-43FC-B613-F065E8C2BDB6}" dt="2024-08-19T16:59:30.890" v="951" actId="1076"/>
          <ac:spMkLst>
            <pc:docMk/>
            <pc:sldMk cId="3220162634" sldId="2147310013"/>
            <ac:spMk id="85" creationId="{A190D0B4-92ED-1A31-8614-795A6D20A889}"/>
          </ac:spMkLst>
        </pc:spChg>
        <pc:spChg chg="add mod">
          <ac:chgData name="Fernando Enrique Nuñez Zapata" userId="4887fb29-3871-42a7-b0aa-ea8d45a5c181" providerId="ADAL" clId="{8E34F22B-B89A-43FC-B613-F065E8C2BDB6}" dt="2024-08-22T17:32:54.585" v="3070" actId="1076"/>
          <ac:spMkLst>
            <pc:docMk/>
            <pc:sldMk cId="3220162634" sldId="2147310013"/>
            <ac:spMk id="86" creationId="{9D3C1B1C-146E-12A8-1EEA-E3C454EA412C}"/>
          </ac:spMkLst>
        </pc:spChg>
        <pc:spChg chg="add mod">
          <ac:chgData name="Fernando Enrique Nuñez Zapata" userId="4887fb29-3871-42a7-b0aa-ea8d45a5c181" providerId="ADAL" clId="{8E34F22B-B89A-43FC-B613-F065E8C2BDB6}" dt="2024-08-22T17:32:54.585" v="3070" actId="1076"/>
          <ac:spMkLst>
            <pc:docMk/>
            <pc:sldMk cId="3220162634" sldId="2147310013"/>
            <ac:spMk id="104" creationId="{9A822F9E-4B16-E534-CB63-DC0752B23012}"/>
          </ac:spMkLst>
        </pc:spChg>
        <pc:grpChg chg="mod">
          <ac:chgData name="Fernando Enrique Nuñez Zapata" userId="4887fb29-3871-42a7-b0aa-ea8d45a5c181" providerId="ADAL" clId="{8E34F22B-B89A-43FC-B613-F065E8C2BDB6}" dt="2024-08-19T16:59:30.890" v="951" actId="1076"/>
          <ac:grpSpMkLst>
            <pc:docMk/>
            <pc:sldMk cId="3220162634" sldId="2147310013"/>
            <ac:grpSpMk id="31" creationId="{1DB416D3-DF5E-D3DA-70A1-5AFA3C8D6B36}"/>
          </ac:grpSpMkLst>
        </pc:grpChg>
        <pc:graphicFrameChg chg="mod modGraphic">
          <ac:chgData name="Fernando Enrique Nuñez Zapata" userId="4887fb29-3871-42a7-b0aa-ea8d45a5c181" providerId="ADAL" clId="{8E34F22B-B89A-43FC-B613-F065E8C2BDB6}" dt="2024-08-20T21:10:36.101" v="1587" actId="2057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7:00:07.685" v="2416" actId="20577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22T17:06:35.763" v="2489" actId="20577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  <pc:graphicFrameChg chg="modGraphic">
          <ac:chgData name="Fernando Enrique Nuñez Zapata" userId="4887fb29-3871-42a7-b0aa-ea8d45a5c181" providerId="ADAL" clId="{8E34F22B-B89A-43FC-B613-F065E8C2BDB6}" dt="2024-08-15T15:40:24.787" v="423" actId="798"/>
          <ac:graphicFrameMkLst>
            <pc:docMk/>
            <pc:sldMk cId="3220162634" sldId="2147310013"/>
            <ac:graphicFrameMk id="83" creationId="{078028E8-7344-67A2-47F9-81298AFE5B2F}"/>
          </ac:graphicFrameMkLst>
        </pc:graphicFrameChg>
        <pc:cxnChg chg="mod">
          <ac:chgData name="Fernando Enrique Nuñez Zapata" userId="4887fb29-3871-42a7-b0aa-ea8d45a5c181" providerId="ADAL" clId="{8E34F22B-B89A-43FC-B613-F065E8C2BDB6}" dt="2024-08-19T16:59:30.890" v="951" actId="1076"/>
          <ac:cxnSpMkLst>
            <pc:docMk/>
            <pc:sldMk cId="3220162634" sldId="2147310013"/>
            <ac:cxnSpMk id="26" creationId="{E5E3E115-6167-D937-90F3-8C6C0A2B3840}"/>
          </ac:cxnSpMkLst>
        </pc:cxnChg>
      </pc:sldChg>
      <pc:sldChg chg="addSp delSp modSp mod">
        <pc:chgData name="Fernando Enrique Nuñez Zapata" userId="4887fb29-3871-42a7-b0aa-ea8d45a5c181" providerId="ADAL" clId="{8E34F22B-B89A-43FC-B613-F065E8C2BDB6}" dt="2024-08-23T14:32:26.766" v="3821" actId="1036"/>
        <pc:sldMkLst>
          <pc:docMk/>
          <pc:sldMk cId="649892551" sldId="2147310016"/>
        </pc:sldMkLst>
        <pc:spChg chg="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3" creationId="{FA867270-A122-D3FF-6F7C-DD3226EDC823}"/>
          </ac:spMkLst>
        </pc:spChg>
        <pc:spChg chg="del mod">
          <ac:chgData name="Fernando Enrique Nuñez Zapata" userId="4887fb29-3871-42a7-b0aa-ea8d45a5c181" providerId="ADAL" clId="{8E34F22B-B89A-43FC-B613-F065E8C2BDB6}" dt="2024-08-20T21:18:38.600" v="1728" actId="478"/>
          <ac:spMkLst>
            <pc:docMk/>
            <pc:sldMk cId="649892551" sldId="2147310016"/>
            <ac:spMk id="4" creationId="{04E43BBB-EA3E-3DDB-703F-BAA56C74AD1D}"/>
          </ac:spMkLst>
        </pc:spChg>
        <pc:spChg chg="add 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4" creationId="{737B1437-B402-40EB-F733-91C52CCC8949}"/>
          </ac:spMkLst>
        </pc:spChg>
        <pc:spChg chg="del mod">
          <ac:chgData name="Fernando Enrique Nuñez Zapata" userId="4887fb29-3871-42a7-b0aa-ea8d45a5c181" providerId="ADAL" clId="{8E34F22B-B89A-43FC-B613-F065E8C2BDB6}" dt="2024-08-20T21:18:36.661" v="1727" actId="478"/>
          <ac:spMkLst>
            <pc:docMk/>
            <pc:sldMk cId="649892551" sldId="2147310016"/>
            <ac:spMk id="6" creationId="{657908EC-AD3D-5E1A-E39D-D4D11E952763}"/>
          </ac:spMkLst>
        </pc:spChg>
        <pc:spChg chg="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7" creationId="{82F30E2E-4977-1265-1A3D-D94DC686357F}"/>
          </ac:spMkLst>
        </pc:spChg>
        <pc:spChg chg="del mod">
          <ac:chgData name="Fernando Enrique Nuñez Zapata" userId="4887fb29-3871-42a7-b0aa-ea8d45a5c181" providerId="ADAL" clId="{8E34F22B-B89A-43FC-B613-F065E8C2BDB6}" dt="2024-08-20T21:19:00.675" v="1754" actId="478"/>
          <ac:spMkLst>
            <pc:docMk/>
            <pc:sldMk cId="649892551" sldId="2147310016"/>
            <ac:spMk id="9" creationId="{4ED63805-5BE0-FEAD-D302-14D9EB1A0EAE}"/>
          </ac:spMkLst>
        </pc:spChg>
        <pc:spChg chg="del mod">
          <ac:chgData name="Fernando Enrique Nuñez Zapata" userId="4887fb29-3871-42a7-b0aa-ea8d45a5c181" providerId="ADAL" clId="{8E34F22B-B89A-43FC-B613-F065E8C2BDB6}" dt="2024-08-20T21:20:20.363" v="1774" actId="478"/>
          <ac:spMkLst>
            <pc:docMk/>
            <pc:sldMk cId="649892551" sldId="2147310016"/>
            <ac:spMk id="10" creationId="{1F8C62CE-5585-2AAC-99BF-93AB8D7080A4}"/>
          </ac:spMkLst>
        </pc:spChg>
        <pc:spChg chg="mod">
          <ac:chgData name="Fernando Enrique Nuñez Zapata" userId="4887fb29-3871-42a7-b0aa-ea8d45a5c181" providerId="ADAL" clId="{8E34F22B-B89A-43FC-B613-F065E8C2BDB6}" dt="2024-08-23T14:29:40.111" v="3811" actId="20577"/>
          <ac:spMkLst>
            <pc:docMk/>
            <pc:sldMk cId="649892551" sldId="2147310016"/>
            <ac:spMk id="11" creationId="{0FA3F142-40A5-149A-EFA0-D68F2A7B17C4}"/>
          </ac:spMkLst>
        </pc:spChg>
        <pc:spChg chg="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20" creationId="{AC6B803E-94E0-35E0-B51B-07C00C789ADB}"/>
          </ac:spMkLst>
        </pc:spChg>
        <pc:spChg chg="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21" creationId="{20AD9757-39DA-3B1C-AD63-40330654CD06}"/>
          </ac:spMkLst>
        </pc:spChg>
        <pc:spChg chg="del">
          <ac:chgData name="Fernando Enrique Nuñez Zapata" userId="4887fb29-3871-42a7-b0aa-ea8d45a5c181" providerId="ADAL" clId="{8E34F22B-B89A-43FC-B613-F065E8C2BDB6}" dt="2024-08-20T21:17:58.771" v="1699" actId="478"/>
          <ac:spMkLst>
            <pc:docMk/>
            <pc:sldMk cId="649892551" sldId="2147310016"/>
            <ac:spMk id="22" creationId="{15B0F496-BC73-9F55-3A0B-166C135ECA3D}"/>
          </ac:spMkLst>
        </pc:spChg>
        <pc:spChg chg="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23" creationId="{DA8DED9F-196D-2B97-7FC0-B8775D127742}"/>
          </ac:spMkLst>
        </pc:spChg>
        <pc:spChg chg="add 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25" creationId="{91543693-6A5B-5D65-73B2-A3BB0988BD39}"/>
          </ac:spMkLst>
        </pc:spChg>
        <pc:spChg chg="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26" creationId="{5382A627-FC6C-DA7C-9A6A-08AE68626876}"/>
          </ac:spMkLst>
        </pc:spChg>
        <pc:spChg chg="del">
          <ac:chgData name="Fernando Enrique Nuñez Zapata" userId="4887fb29-3871-42a7-b0aa-ea8d45a5c181" providerId="ADAL" clId="{8E34F22B-B89A-43FC-B613-F065E8C2BDB6}" dt="2024-08-20T21:17:56.328" v="1698" actId="478"/>
          <ac:spMkLst>
            <pc:docMk/>
            <pc:sldMk cId="649892551" sldId="2147310016"/>
            <ac:spMk id="27" creationId="{58E23F92-9A62-D3A4-1FE2-3529B6DB7DBD}"/>
          </ac:spMkLst>
        </pc:spChg>
        <pc:spChg chg="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28" creationId="{EA449AF5-028F-F2DA-6746-EA3415C9FB3E}"/>
          </ac:spMkLst>
        </pc:spChg>
        <pc:spChg chg="del mod">
          <ac:chgData name="Fernando Enrique Nuñez Zapata" userId="4887fb29-3871-42a7-b0aa-ea8d45a5c181" providerId="ADAL" clId="{8E34F22B-B89A-43FC-B613-F065E8C2BDB6}" dt="2024-08-20T21:21:13.034" v="1798" actId="478"/>
          <ac:spMkLst>
            <pc:docMk/>
            <pc:sldMk cId="649892551" sldId="2147310016"/>
            <ac:spMk id="29" creationId="{0DA9DC56-81B7-4999-CB65-AFB91031845A}"/>
          </ac:spMkLst>
        </pc:spChg>
        <pc:spChg chg="add del mod">
          <ac:chgData name="Fernando Enrique Nuñez Zapata" userId="4887fb29-3871-42a7-b0aa-ea8d45a5c181" providerId="ADAL" clId="{8E34F22B-B89A-43FC-B613-F065E8C2BDB6}" dt="2024-08-23T14:32:26.766" v="3821" actId="1036"/>
          <ac:spMkLst>
            <pc:docMk/>
            <pc:sldMk cId="649892551" sldId="2147310016"/>
            <ac:spMk id="30" creationId="{464DA85C-B417-70D8-A89B-2B69AB01AAF1}"/>
          </ac:spMkLst>
        </pc:spChg>
        <pc:graphicFrameChg chg="mod modGraphic">
          <ac:chgData name="Fernando Enrique Nuñez Zapata" userId="4887fb29-3871-42a7-b0aa-ea8d45a5c181" providerId="ADAL" clId="{8E34F22B-B89A-43FC-B613-F065E8C2BDB6}" dt="2024-08-23T14:32:26.766" v="3821" actId="1036"/>
          <ac:graphicFrameMkLst>
            <pc:docMk/>
            <pc:sldMk cId="649892551" sldId="2147310016"/>
            <ac:graphicFrameMk id="13" creationId="{BC0710D6-135E-EDE0-0A2D-C2D70100BF45}"/>
          </ac:graphicFrameMkLst>
        </pc:graphicFrameChg>
      </pc:sldChg>
      <pc:sldChg chg="addSp delSp modSp mod modShow">
        <pc:chgData name="Fernando Enrique Nuñez Zapata" userId="4887fb29-3871-42a7-b0aa-ea8d45a5c181" providerId="ADAL" clId="{8E34F22B-B89A-43FC-B613-F065E8C2BDB6}" dt="2024-08-23T14:34:40.023" v="3823" actId="729"/>
        <pc:sldMkLst>
          <pc:docMk/>
          <pc:sldMk cId="3746985532" sldId="2147310020"/>
        </pc:sldMkLst>
        <pc:spChg chg="add mod">
          <ac:chgData name="Fernando Enrique Nuñez Zapata" userId="4887fb29-3871-42a7-b0aa-ea8d45a5c181" providerId="ADAL" clId="{8E34F22B-B89A-43FC-B613-F065E8C2BDB6}" dt="2024-08-22T20:23:55.616" v="3393"/>
          <ac:spMkLst>
            <pc:docMk/>
            <pc:sldMk cId="3746985532" sldId="2147310020"/>
            <ac:spMk id="2" creationId="{12FFA99B-1C87-E420-9E17-8A5A4B97E056}"/>
          </ac:spMkLst>
        </pc:spChg>
        <pc:spChg chg="mod">
          <ac:chgData name="Fernando Enrique Nuñez Zapata" userId="4887fb29-3871-42a7-b0aa-ea8d45a5c181" providerId="ADAL" clId="{8E34F22B-B89A-43FC-B613-F065E8C2BDB6}" dt="2024-08-20T21:27:14.540" v="2143" actId="20577"/>
          <ac:spMkLst>
            <pc:docMk/>
            <pc:sldMk cId="3746985532" sldId="2147310020"/>
            <ac:spMk id="5" creationId="{7615FE0C-E799-FE50-8E22-9CCED845BB78}"/>
          </ac:spMkLst>
        </pc:spChg>
        <pc:spChg chg="add del">
          <ac:chgData name="Fernando Enrique Nuñez Zapata" userId="4887fb29-3871-42a7-b0aa-ea8d45a5c181" providerId="ADAL" clId="{8E34F22B-B89A-43FC-B613-F065E8C2BDB6}" dt="2024-08-20T21:27:18.110" v="2144" actId="478"/>
          <ac:spMkLst>
            <pc:docMk/>
            <pc:sldMk cId="3746985532" sldId="2147310020"/>
            <ac:spMk id="18" creationId="{B7C6BF59-5F6A-1E9B-BBF0-2B3874A12817}"/>
          </ac:spMkLst>
        </pc:spChg>
        <pc:graphicFrameChg chg="add mod">
          <ac:chgData name="Fernando Enrique Nuñez Zapata" userId="4887fb29-3871-42a7-b0aa-ea8d45a5c181" providerId="ADAL" clId="{8E34F22B-B89A-43FC-B613-F065E8C2BDB6}" dt="2024-08-21T21:36:43.875" v="2257"/>
          <ac:graphicFrameMkLst>
            <pc:docMk/>
            <pc:sldMk cId="3746985532" sldId="2147310020"/>
            <ac:graphicFrameMk id="2" creationId="{A4A07C22-6946-9DCF-D3AC-A92A7F2988A1}"/>
          </ac:graphicFrameMkLst>
        </pc:graphicFrameChg>
        <pc:graphicFrameChg chg="add mod modGraphic">
          <ac:chgData name="Fernando Enrique Nuñez Zapata" userId="4887fb29-3871-42a7-b0aa-ea8d45a5c181" providerId="ADAL" clId="{8E34F22B-B89A-43FC-B613-F065E8C2BDB6}" dt="2024-08-22T20:25:46.912" v="3406" actId="20577"/>
          <ac:graphicFrameMkLst>
            <pc:docMk/>
            <pc:sldMk cId="3746985532" sldId="2147310020"/>
            <ac:graphicFrameMk id="4" creationId="{676687D9-A005-B895-2BEC-99E4B3C4D194}"/>
          </ac:graphicFrameMkLst>
        </pc:graphicFrameChg>
        <pc:picChg chg="add del">
          <ac:chgData name="Fernando Enrique Nuñez Zapata" userId="4887fb29-3871-42a7-b0aa-ea8d45a5c181" providerId="ADAL" clId="{8E34F22B-B89A-43FC-B613-F065E8C2BDB6}" dt="2024-08-20T21:27:18.110" v="2144" actId="478"/>
          <ac:picMkLst>
            <pc:docMk/>
            <pc:sldMk cId="3746985532" sldId="2147310020"/>
            <ac:picMk id="16" creationId="{DA2DF765-8700-D965-5C7A-44718D570399}"/>
          </ac:picMkLst>
        </pc:picChg>
        <pc:picChg chg="del">
          <ac:chgData name="Fernando Enrique Nuñez Zapata" userId="4887fb29-3871-42a7-b0aa-ea8d45a5c181" providerId="ADAL" clId="{8E34F22B-B89A-43FC-B613-F065E8C2BDB6}" dt="2024-08-20T15:33:51.167" v="1222" actId="478"/>
          <ac:picMkLst>
            <pc:docMk/>
            <pc:sldMk cId="3746985532" sldId="2147310020"/>
            <ac:picMk id="20" creationId="{A93DC02D-C1E1-F3EE-E6FF-2BDF2F8B3B7C}"/>
          </ac:picMkLst>
        </pc:picChg>
        <pc:picChg chg="del">
          <ac:chgData name="Fernando Enrique Nuñez Zapata" userId="4887fb29-3871-42a7-b0aa-ea8d45a5c181" providerId="ADAL" clId="{8E34F22B-B89A-43FC-B613-F065E8C2BDB6}" dt="2024-08-20T15:33:52.963" v="1223" actId="478"/>
          <ac:picMkLst>
            <pc:docMk/>
            <pc:sldMk cId="3746985532" sldId="2147310020"/>
            <ac:picMk id="22" creationId="{BFC380B7-D88B-774D-8100-40BA505EA4AF}"/>
          </ac:picMkLst>
        </pc:picChg>
      </pc:sldChg>
      <pc:sldChg chg="modSp mod">
        <pc:chgData name="Fernando Enrique Nuñez Zapata" userId="4887fb29-3871-42a7-b0aa-ea8d45a5c181" providerId="ADAL" clId="{8E34F22B-B89A-43FC-B613-F065E8C2BDB6}" dt="2024-08-20T21:07:12.475" v="1484" actId="13926"/>
        <pc:sldMkLst>
          <pc:docMk/>
          <pc:sldMk cId="151272569" sldId="2147310022"/>
        </pc:sldMkLst>
        <pc:spChg chg="mod">
          <ac:chgData name="Fernando Enrique Nuñez Zapata" userId="4887fb29-3871-42a7-b0aa-ea8d45a5c181" providerId="ADAL" clId="{8E34F22B-B89A-43FC-B613-F065E8C2BDB6}" dt="2024-08-15T15:42:35.107" v="438" actId="20577"/>
          <ac:spMkLst>
            <pc:docMk/>
            <pc:sldMk cId="151272569" sldId="2147310022"/>
            <ac:spMk id="52" creationId="{C8FB4903-0BB1-5810-5560-625DD68FEDC7}"/>
          </ac:spMkLst>
        </pc:spChg>
        <pc:spChg chg="mod">
          <ac:chgData name="Fernando Enrique Nuñez Zapata" userId="4887fb29-3871-42a7-b0aa-ea8d45a5c181" providerId="ADAL" clId="{8E34F22B-B89A-43FC-B613-F065E8C2BDB6}" dt="2024-08-15T19:29:12.664" v="632" actId="108"/>
          <ac:spMkLst>
            <pc:docMk/>
            <pc:sldMk cId="151272569" sldId="2147310022"/>
            <ac:spMk id="89" creationId="{F2FB6392-1CC4-2ED3-6585-13D7B3216445}"/>
          </ac:spMkLst>
        </pc:spChg>
        <pc:spChg chg="mod">
          <ac:chgData name="Fernando Enrique Nuñez Zapata" userId="4887fb29-3871-42a7-b0aa-ea8d45a5c181" providerId="ADAL" clId="{8E34F22B-B89A-43FC-B613-F065E8C2BDB6}" dt="2024-08-15T19:28:10.093" v="631" actId="108"/>
          <ac:spMkLst>
            <pc:docMk/>
            <pc:sldMk cId="151272569" sldId="2147310022"/>
            <ac:spMk id="154" creationId="{2E0FE93C-A8BB-BA45-6CC2-ADEA9C2CD01B}"/>
          </ac:spMkLst>
        </pc:spChg>
        <pc:spChg chg="mod">
          <ac:chgData name="Fernando Enrique Nuñez Zapata" userId="4887fb29-3871-42a7-b0aa-ea8d45a5c181" providerId="ADAL" clId="{8E34F22B-B89A-43FC-B613-F065E8C2BDB6}" dt="2024-08-15T19:29:17.810" v="633" actId="108"/>
          <ac:spMkLst>
            <pc:docMk/>
            <pc:sldMk cId="151272569" sldId="2147310022"/>
            <ac:spMk id="155" creationId="{2C13D219-22AE-2C63-5C1B-C5070DECD1DF}"/>
          </ac:spMkLst>
        </pc:spChg>
        <pc:spChg chg="mod">
          <ac:chgData name="Fernando Enrique Nuñez Zapata" userId="4887fb29-3871-42a7-b0aa-ea8d45a5c181" providerId="ADAL" clId="{8E34F22B-B89A-43FC-B613-F065E8C2BDB6}" dt="2024-08-15T19:29:22.263" v="634" actId="108"/>
          <ac:spMkLst>
            <pc:docMk/>
            <pc:sldMk cId="151272569" sldId="2147310022"/>
            <ac:spMk id="159" creationId="{B3FC801B-B60A-26E4-4EF8-04B5C298928F}"/>
          </ac:spMkLst>
        </pc:spChg>
        <pc:spChg chg="mod">
          <ac:chgData name="Fernando Enrique Nuñez Zapata" userId="4887fb29-3871-42a7-b0aa-ea8d45a5c181" providerId="ADAL" clId="{8E34F22B-B89A-43FC-B613-F065E8C2BDB6}" dt="2024-08-15T19:36:19.830" v="678" actId="108"/>
          <ac:spMkLst>
            <pc:docMk/>
            <pc:sldMk cId="151272569" sldId="2147310022"/>
            <ac:spMk id="165" creationId="{7D4962F4-FF45-0017-6D88-0F9B5F2E2B17}"/>
          </ac:spMkLst>
        </pc:spChg>
        <pc:spChg chg="mod">
          <ac:chgData name="Fernando Enrique Nuñez Zapata" userId="4887fb29-3871-42a7-b0aa-ea8d45a5c181" providerId="ADAL" clId="{8E34F22B-B89A-43FC-B613-F065E8C2BDB6}" dt="2024-08-15T19:36:15.188" v="677" actId="108"/>
          <ac:spMkLst>
            <pc:docMk/>
            <pc:sldMk cId="151272569" sldId="2147310022"/>
            <ac:spMk id="169" creationId="{B4FE227A-D54A-BACB-206B-B46C1360FB31}"/>
          </ac:spMkLst>
        </pc:spChg>
        <pc:spChg chg="mod">
          <ac:chgData name="Fernando Enrique Nuñez Zapata" userId="4887fb29-3871-42a7-b0aa-ea8d45a5c181" providerId="ADAL" clId="{8E34F22B-B89A-43FC-B613-F065E8C2BDB6}" dt="2024-08-15T19:37:49.441" v="679" actId="108"/>
          <ac:spMkLst>
            <pc:docMk/>
            <pc:sldMk cId="151272569" sldId="2147310022"/>
            <ac:spMk id="171" creationId="{35596050-7AA7-3878-FD48-999DB97CA95D}"/>
          </ac:spMkLst>
        </pc:spChg>
        <pc:graphicFrameChg chg="mod modGraphic">
          <ac:chgData name="Fernando Enrique Nuñez Zapata" userId="4887fb29-3871-42a7-b0aa-ea8d45a5c181" providerId="ADAL" clId="{8E34F22B-B89A-43FC-B613-F065E8C2BDB6}" dt="2024-08-15T19:26:34.946" v="590" actId="20577"/>
          <ac:graphicFrameMkLst>
            <pc:docMk/>
            <pc:sldMk cId="151272569" sldId="2147310022"/>
            <ac:graphicFrameMk id="22" creationId="{0CF90B55-9125-829B-1706-2CC9981707E1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15T19:32:07.364" v="676" actId="20577"/>
          <ac:graphicFrameMkLst>
            <pc:docMk/>
            <pc:sldMk cId="151272569" sldId="2147310022"/>
            <ac:graphicFrameMk id="24" creationId="{CEB09712-9160-9EEB-727B-50729D1044B5}"/>
          </ac:graphicFrameMkLst>
        </pc:graphicFrameChg>
        <pc:graphicFrameChg chg="mod modGraphic">
          <ac:chgData name="Fernando Enrique Nuñez Zapata" userId="4887fb29-3871-42a7-b0aa-ea8d45a5c181" providerId="ADAL" clId="{8E34F22B-B89A-43FC-B613-F065E8C2BDB6}" dt="2024-08-15T19:27:23.583" v="630" actId="2057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modGraphic">
          <ac:chgData name="Fernando Enrique Nuñez Zapata" userId="4887fb29-3871-42a7-b0aa-ea8d45a5c181" providerId="ADAL" clId="{8E34F22B-B89A-43FC-B613-F065E8C2BDB6}" dt="2024-08-15T19:30:29.013" v="636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Fernando Enrique Nuñez Zapata" userId="4887fb29-3871-42a7-b0aa-ea8d45a5c181" providerId="ADAL" clId="{8E34F22B-B89A-43FC-B613-F065E8C2BDB6}" dt="2024-08-20T21:07:12.475" v="1484" actId="13926"/>
          <ac:graphicFrameMkLst>
            <pc:docMk/>
            <pc:sldMk cId="151272569" sldId="2147310022"/>
            <ac:graphicFrameMk id="53" creationId="{618955C3-E208-AFCE-12BC-3E76CA8E34B1}"/>
          </ac:graphicFrameMkLst>
        </pc:graphicFrameChg>
        <pc:graphicFrameChg chg="modGraphic">
          <ac:chgData name="Fernando Enrique Nuñez Zapata" userId="4887fb29-3871-42a7-b0aa-ea8d45a5c181" providerId="ADAL" clId="{8E34F22B-B89A-43FC-B613-F065E8C2BDB6}" dt="2024-08-15T19:25:31.514" v="554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graphicFrameChg chg="modGraphic">
          <ac:chgData name="Fernando Enrique Nuñez Zapata" userId="4887fb29-3871-42a7-b0aa-ea8d45a5c181" providerId="ADAL" clId="{8E34F22B-B89A-43FC-B613-F065E8C2BDB6}" dt="2024-08-20T21:05:21.169" v="1465" actId="13926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</pc:sldChg>
      <pc:sldChg chg="addSp delSp modSp del mod modShow">
        <pc:chgData name="Fernando Enrique Nuñez Zapata" userId="4887fb29-3871-42a7-b0aa-ea8d45a5c181" providerId="ADAL" clId="{8E34F22B-B89A-43FC-B613-F065E8C2BDB6}" dt="2024-08-23T14:27:06.118" v="3800" actId="47"/>
        <pc:sldMkLst>
          <pc:docMk/>
          <pc:sldMk cId="1985056801" sldId="2147310029"/>
        </pc:sldMkLst>
        <pc:spChg chg="add mod">
          <ac:chgData name="Fernando Enrique Nuñez Zapata" userId="4887fb29-3871-42a7-b0aa-ea8d45a5c181" providerId="ADAL" clId="{8E34F22B-B89A-43FC-B613-F065E8C2BDB6}" dt="2024-08-22T17:17:00.136" v="2597" actId="767"/>
          <ac:spMkLst>
            <pc:docMk/>
            <pc:sldMk cId="1985056801" sldId="2147310029"/>
            <ac:spMk id="4" creationId="{2D9105E8-5CBA-278D-487B-EFC99D163F77}"/>
          </ac:spMkLst>
        </pc:spChg>
        <pc:spChg chg="mod">
          <ac:chgData name="Fernando Enrique Nuñez Zapata" userId="4887fb29-3871-42a7-b0aa-ea8d45a5c181" providerId="ADAL" clId="{8E34F22B-B89A-43FC-B613-F065E8C2BDB6}" dt="2024-08-22T17:17:07.942" v="2605" actId="1035"/>
          <ac:spMkLst>
            <pc:docMk/>
            <pc:sldMk cId="1985056801" sldId="2147310029"/>
            <ac:spMk id="9" creationId="{39215DD9-429B-90A4-95EC-7E6F91EE5A51}"/>
          </ac:spMkLst>
        </pc:spChg>
        <pc:spChg chg="mod ord">
          <ac:chgData name="Fernando Enrique Nuñez Zapata" userId="4887fb29-3871-42a7-b0aa-ea8d45a5c181" providerId="ADAL" clId="{8E34F22B-B89A-43FC-B613-F065E8C2BDB6}" dt="2024-08-22T17:17:07.942" v="2605" actId="1035"/>
          <ac:spMkLst>
            <pc:docMk/>
            <pc:sldMk cId="1985056801" sldId="2147310029"/>
            <ac:spMk id="10" creationId="{C8BC7A37-CCA8-76A0-3A9B-038168883344}"/>
          </ac:spMkLst>
        </pc:spChg>
        <pc:spChg chg="mod">
          <ac:chgData name="Fernando Enrique Nuñez Zapata" userId="4887fb29-3871-42a7-b0aa-ea8d45a5c181" providerId="ADAL" clId="{8E34F22B-B89A-43FC-B613-F065E8C2BDB6}" dt="2024-08-22T17:17:07.942" v="2605" actId="1035"/>
          <ac:spMkLst>
            <pc:docMk/>
            <pc:sldMk cId="1985056801" sldId="2147310029"/>
            <ac:spMk id="12" creationId="{EE3F932D-B0B8-A286-A1BB-27E726DCB987}"/>
          </ac:spMkLst>
        </pc:spChg>
        <pc:spChg chg="mod">
          <ac:chgData name="Fernando Enrique Nuñez Zapata" userId="4887fb29-3871-42a7-b0aa-ea8d45a5c181" providerId="ADAL" clId="{8E34F22B-B89A-43FC-B613-F065E8C2BDB6}" dt="2024-08-22T17:17:01.170" v="2599" actId="1035"/>
          <ac:spMkLst>
            <pc:docMk/>
            <pc:sldMk cId="1985056801" sldId="2147310029"/>
            <ac:spMk id="18" creationId="{E6C6390B-0F9A-9735-DFAA-F8504DB559CA}"/>
          </ac:spMkLst>
        </pc:spChg>
        <pc:spChg chg="mod">
          <ac:chgData name="Fernando Enrique Nuñez Zapata" userId="4887fb29-3871-42a7-b0aa-ea8d45a5c181" providerId="ADAL" clId="{8E34F22B-B89A-43FC-B613-F065E8C2BDB6}" dt="2024-08-20T21:39:05.012" v="2187" actId="20577"/>
          <ac:spMkLst>
            <pc:docMk/>
            <pc:sldMk cId="1985056801" sldId="2147310029"/>
            <ac:spMk id="23" creationId="{808C0FBB-3EBB-1E9C-5397-C09F2C9C2DCD}"/>
          </ac:spMkLst>
        </pc:spChg>
        <pc:spChg chg="mod">
          <ac:chgData name="Fernando Enrique Nuñez Zapata" userId="4887fb29-3871-42a7-b0aa-ea8d45a5c181" providerId="ADAL" clId="{8E34F22B-B89A-43FC-B613-F065E8C2BDB6}" dt="2024-08-22T17:17:07.942" v="2605" actId="1035"/>
          <ac:spMkLst>
            <pc:docMk/>
            <pc:sldMk cId="1985056801" sldId="2147310029"/>
            <ac:spMk id="28" creationId="{1BB3128D-6961-C00B-B97E-82C84FE820BC}"/>
          </ac:spMkLst>
        </pc:spChg>
        <pc:spChg chg="mod">
          <ac:chgData name="Fernando Enrique Nuñez Zapata" userId="4887fb29-3871-42a7-b0aa-ea8d45a5c181" providerId="ADAL" clId="{8E34F22B-B89A-43FC-B613-F065E8C2BDB6}" dt="2024-08-22T17:17:07.942" v="2605" actId="1035"/>
          <ac:spMkLst>
            <pc:docMk/>
            <pc:sldMk cId="1985056801" sldId="2147310029"/>
            <ac:spMk id="29" creationId="{34913F2E-D48F-B859-1884-A3D0BB140D5A}"/>
          </ac:spMkLst>
        </pc:spChg>
        <pc:graphicFrameChg chg="del mod">
          <ac:chgData name="Fernando Enrique Nuñez Zapata" userId="4887fb29-3871-42a7-b0aa-ea8d45a5c181" providerId="ADAL" clId="{8E34F22B-B89A-43FC-B613-F065E8C2BDB6}" dt="2024-08-20T21:42:40.747" v="2209" actId="478"/>
          <ac:graphicFrameMkLst>
            <pc:docMk/>
            <pc:sldMk cId="1985056801" sldId="2147310029"/>
            <ac:graphicFrameMk id="4" creationId="{4DC0704C-7EB4-4BF7-A0CF-FF0BBE31F4DD}"/>
          </ac:graphicFrameMkLst>
        </pc:graphicFrameChg>
        <pc:graphicFrameChg chg="del mod">
          <ac:chgData name="Fernando Enrique Nuñez Zapata" userId="4887fb29-3871-42a7-b0aa-ea8d45a5c181" providerId="ADAL" clId="{8E34F22B-B89A-43FC-B613-F065E8C2BDB6}" dt="2024-08-20T21:43:51.230" v="2220" actId="478"/>
          <ac:graphicFrameMkLst>
            <pc:docMk/>
            <pc:sldMk cId="1985056801" sldId="2147310029"/>
            <ac:graphicFrameMk id="5" creationId="{C01F56F9-A316-448A-9A4A-BD0E8DE6E225}"/>
          </ac:graphicFrameMkLst>
        </pc:graphicFrameChg>
        <pc:graphicFrameChg chg="add mod">
          <ac:chgData name="Fernando Enrique Nuñez Zapata" userId="4887fb29-3871-42a7-b0aa-ea8d45a5c181" providerId="ADAL" clId="{8E34F22B-B89A-43FC-B613-F065E8C2BDB6}" dt="2024-08-22T17:17:07.942" v="2605" actId="1035"/>
          <ac:graphicFrameMkLst>
            <pc:docMk/>
            <pc:sldMk cId="1985056801" sldId="2147310029"/>
            <ac:graphicFrameMk id="6" creationId="{FCEFA422-B86E-6052-31E3-1E267A86F7F7}"/>
          </ac:graphicFrameMkLst>
        </pc:graphicFrameChg>
        <pc:graphicFrameChg chg="del mod">
          <ac:chgData name="Fernando Enrique Nuñez Zapata" userId="4887fb29-3871-42a7-b0aa-ea8d45a5c181" providerId="ADAL" clId="{8E34F22B-B89A-43FC-B613-F065E8C2BDB6}" dt="2024-08-20T21:45:03.105" v="2234" actId="478"/>
          <ac:graphicFrameMkLst>
            <pc:docMk/>
            <pc:sldMk cId="1985056801" sldId="2147310029"/>
            <ac:graphicFrameMk id="7" creationId="{80518FF7-E91E-47DE-96AF-C763E7E0CF02}"/>
          </ac:graphicFrameMkLst>
        </pc:graphicFrameChg>
        <pc:graphicFrameChg chg="add mod">
          <ac:chgData name="Fernando Enrique Nuñez Zapata" userId="4887fb29-3871-42a7-b0aa-ea8d45a5c181" providerId="ADAL" clId="{8E34F22B-B89A-43FC-B613-F065E8C2BDB6}" dt="2024-08-22T17:17:01.170" v="2599" actId="1035"/>
          <ac:graphicFrameMkLst>
            <pc:docMk/>
            <pc:sldMk cId="1985056801" sldId="2147310029"/>
            <ac:graphicFrameMk id="8" creationId="{4DC0704C-7EB4-4BF7-A0CF-FF0BBE31F4DD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7:17:01.170" v="2599" actId="1035"/>
          <ac:graphicFrameMkLst>
            <pc:docMk/>
            <pc:sldMk cId="1985056801" sldId="2147310029"/>
            <ac:graphicFrameMk id="11" creationId="{74D949B2-AD22-BD50-BD36-4F2424CE0D30}"/>
          </ac:graphicFrameMkLst>
        </pc:graphicFrameChg>
        <pc:graphicFrameChg chg="del">
          <ac:chgData name="Fernando Enrique Nuñez Zapata" userId="4887fb29-3871-42a7-b0aa-ea8d45a5c181" providerId="ADAL" clId="{8E34F22B-B89A-43FC-B613-F065E8C2BDB6}" dt="2024-08-20T21:46:05.161" v="2245" actId="478"/>
          <ac:graphicFrameMkLst>
            <pc:docMk/>
            <pc:sldMk cId="1985056801" sldId="2147310029"/>
            <ac:graphicFrameMk id="14" creationId="{77DE74BA-584F-402F-8D33-508233DC17CC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7:17:01.170" v="2599" actId="1035"/>
          <ac:graphicFrameMkLst>
            <pc:docMk/>
            <pc:sldMk cId="1985056801" sldId="2147310029"/>
            <ac:graphicFrameMk id="15" creationId="{DFCC1CC8-9C7E-E777-ACFE-1604DB07EED8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7:17:01.170" v="2599" actId="1035"/>
          <ac:graphicFrameMkLst>
            <pc:docMk/>
            <pc:sldMk cId="1985056801" sldId="2147310029"/>
            <ac:graphicFrameMk id="16" creationId="{B8707EAE-9863-07CA-AA94-0008F5303C1A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7:17:01.170" v="2599" actId="1035"/>
          <ac:graphicFrameMkLst>
            <pc:docMk/>
            <pc:sldMk cId="1985056801" sldId="2147310029"/>
            <ac:graphicFrameMk id="20" creationId="{1D37815E-6E06-C46C-175A-392B47B95304}"/>
          </ac:graphicFrameMkLst>
        </pc:graphicFrameChg>
        <pc:graphicFrameChg chg="add mod">
          <ac:chgData name="Fernando Enrique Nuñez Zapata" userId="4887fb29-3871-42a7-b0aa-ea8d45a5c181" providerId="ADAL" clId="{8E34F22B-B89A-43FC-B613-F065E8C2BDB6}" dt="2024-08-22T17:17:01.170" v="2599" actId="1035"/>
          <ac:graphicFrameMkLst>
            <pc:docMk/>
            <pc:sldMk cId="1985056801" sldId="2147310029"/>
            <ac:graphicFrameMk id="21" creationId="{C01F56F9-A316-448A-9A4A-BD0E8DE6E225}"/>
          </ac:graphicFrameMkLst>
        </pc:graphicFrameChg>
        <pc:graphicFrameChg chg="del">
          <ac:chgData name="Fernando Enrique Nuñez Zapata" userId="4887fb29-3871-42a7-b0aa-ea8d45a5c181" providerId="ADAL" clId="{8E34F22B-B89A-43FC-B613-F065E8C2BDB6}" dt="2024-08-20T21:38:12.277" v="2181" actId="478"/>
          <ac:graphicFrameMkLst>
            <pc:docMk/>
            <pc:sldMk cId="1985056801" sldId="2147310029"/>
            <ac:graphicFrameMk id="22" creationId="{FCEFA422-B86E-6052-31E3-1E267A86F7F7}"/>
          </ac:graphicFrameMkLst>
        </pc:graphicFrameChg>
        <pc:graphicFrameChg chg="add mod">
          <ac:chgData name="Fernando Enrique Nuñez Zapata" userId="4887fb29-3871-42a7-b0aa-ea8d45a5c181" providerId="ADAL" clId="{8E34F22B-B89A-43FC-B613-F065E8C2BDB6}" dt="2024-08-22T17:17:01.170" v="2599" actId="1035"/>
          <ac:graphicFrameMkLst>
            <pc:docMk/>
            <pc:sldMk cId="1985056801" sldId="2147310029"/>
            <ac:graphicFrameMk id="26" creationId="{80518FF7-E91E-47DE-96AF-C763E7E0CF02}"/>
          </ac:graphicFrameMkLst>
        </pc:graphicFrameChg>
        <pc:graphicFrameChg chg="add mod">
          <ac:chgData name="Fernando Enrique Nuñez Zapata" userId="4887fb29-3871-42a7-b0aa-ea8d45a5c181" providerId="ADAL" clId="{8E34F22B-B89A-43FC-B613-F065E8C2BDB6}" dt="2024-08-22T17:17:01.170" v="2599" actId="1035"/>
          <ac:graphicFrameMkLst>
            <pc:docMk/>
            <pc:sldMk cId="1985056801" sldId="2147310029"/>
            <ac:graphicFrameMk id="27" creationId="{77DE74BA-584F-402F-8D33-508233DC17CC}"/>
          </ac:graphicFrameMkLst>
        </pc:graphicFrameChg>
        <pc:picChg chg="mod">
          <ac:chgData name="Fernando Enrique Nuñez Zapata" userId="4887fb29-3871-42a7-b0aa-ea8d45a5c181" providerId="ADAL" clId="{8E34F22B-B89A-43FC-B613-F065E8C2BDB6}" dt="2024-08-22T17:17:01.170" v="2599" actId="1035"/>
          <ac:picMkLst>
            <pc:docMk/>
            <pc:sldMk cId="1985056801" sldId="2147310029"/>
            <ac:picMk id="2" creationId="{B60CEB8D-E040-54B0-D959-2C98424FDC28}"/>
          </ac:picMkLst>
        </pc:picChg>
        <pc:picChg chg="mod">
          <ac:chgData name="Fernando Enrique Nuñez Zapata" userId="4887fb29-3871-42a7-b0aa-ea8d45a5c181" providerId="ADAL" clId="{8E34F22B-B89A-43FC-B613-F065E8C2BDB6}" dt="2024-08-22T17:17:07.942" v="2605" actId="1035"/>
          <ac:picMkLst>
            <pc:docMk/>
            <pc:sldMk cId="1985056801" sldId="2147310029"/>
            <ac:picMk id="13" creationId="{6E42168C-D669-DEA7-533F-98E3D8426AEC}"/>
          </ac:picMkLst>
        </pc:picChg>
        <pc:picChg chg="mod">
          <ac:chgData name="Fernando Enrique Nuñez Zapata" userId="4887fb29-3871-42a7-b0aa-ea8d45a5c181" providerId="ADAL" clId="{8E34F22B-B89A-43FC-B613-F065E8C2BDB6}" dt="2024-08-22T17:17:01.170" v="2599" actId="1035"/>
          <ac:picMkLst>
            <pc:docMk/>
            <pc:sldMk cId="1985056801" sldId="2147310029"/>
            <ac:picMk id="19" creationId="{8E940335-FDC8-F789-306F-4D87C340F8DE}"/>
          </ac:picMkLst>
        </pc:picChg>
        <pc:cxnChg chg="mod">
          <ac:chgData name="Fernando Enrique Nuñez Zapata" userId="4887fb29-3871-42a7-b0aa-ea8d45a5c181" providerId="ADAL" clId="{8E34F22B-B89A-43FC-B613-F065E8C2BDB6}" dt="2024-08-22T17:17:07.942" v="2605" actId="1035"/>
          <ac:cxnSpMkLst>
            <pc:docMk/>
            <pc:sldMk cId="1985056801" sldId="2147310029"/>
            <ac:cxnSpMk id="3" creationId="{7452EAF0-1806-3C47-6B85-50F8BC930C79}"/>
          </ac:cxnSpMkLst>
        </pc:cxnChg>
        <pc:cxnChg chg="mod">
          <ac:chgData name="Fernando Enrique Nuñez Zapata" userId="4887fb29-3871-42a7-b0aa-ea8d45a5c181" providerId="ADAL" clId="{8E34F22B-B89A-43FC-B613-F065E8C2BDB6}" dt="2024-08-22T17:17:07.942" v="2605" actId="1035"/>
          <ac:cxnSpMkLst>
            <pc:docMk/>
            <pc:sldMk cId="1985056801" sldId="2147310029"/>
            <ac:cxnSpMk id="17" creationId="{8B57760B-2606-D862-60DF-F4DD6D5CCD51}"/>
          </ac:cxnSpMkLst>
        </pc:cxnChg>
        <pc:cxnChg chg="mod">
          <ac:chgData name="Fernando Enrique Nuñez Zapata" userId="4887fb29-3871-42a7-b0aa-ea8d45a5c181" providerId="ADAL" clId="{8E34F22B-B89A-43FC-B613-F065E8C2BDB6}" dt="2024-08-22T17:17:07.942" v="2605" actId="1035"/>
          <ac:cxnSpMkLst>
            <pc:docMk/>
            <pc:sldMk cId="1985056801" sldId="2147310029"/>
            <ac:cxnSpMk id="24" creationId="{1FF3DFE8-46B9-5D5A-9CA1-6C2CF61C8184}"/>
          </ac:cxnSpMkLst>
        </pc:cxnChg>
      </pc:sldChg>
      <pc:sldChg chg="del">
        <pc:chgData name="Fernando Enrique Nuñez Zapata" userId="4887fb29-3871-42a7-b0aa-ea8d45a5c181" providerId="ADAL" clId="{8E34F22B-B89A-43FC-B613-F065E8C2BDB6}" dt="2024-08-20T21:24:24.427" v="2054" actId="47"/>
        <pc:sldMkLst>
          <pc:docMk/>
          <pc:sldMk cId="1647420427" sldId="2147310030"/>
        </pc:sldMkLst>
      </pc:sldChg>
      <pc:sldChg chg="add mod modShow">
        <pc:chgData name="Fernando Enrique Nuñez Zapata" userId="4887fb29-3871-42a7-b0aa-ea8d45a5c181" providerId="ADAL" clId="{8E34F22B-B89A-43FC-B613-F065E8C2BDB6}" dt="2024-08-23T14:34:34.324" v="3822" actId="729"/>
        <pc:sldMkLst>
          <pc:docMk/>
          <pc:sldMk cId="3441399492" sldId="2147310030"/>
        </pc:sldMkLst>
      </pc:sldChg>
      <pc:sldChg chg="del">
        <pc:chgData name="Fernando Enrique Nuñez Zapata" userId="4887fb29-3871-42a7-b0aa-ea8d45a5c181" providerId="ADAL" clId="{8E34F22B-B89A-43FC-B613-F065E8C2BDB6}" dt="2024-08-20T21:24:27.209" v="2056" actId="47"/>
        <pc:sldMkLst>
          <pc:docMk/>
          <pc:sldMk cId="2573264900" sldId="2147310031"/>
        </pc:sldMkLst>
      </pc:sldChg>
      <pc:sldChg chg="addSp modSp add mod modShow">
        <pc:chgData name="Fernando Enrique Nuñez Zapata" userId="4887fb29-3871-42a7-b0aa-ea8d45a5c181" providerId="ADAL" clId="{8E34F22B-B89A-43FC-B613-F065E8C2BDB6}" dt="2024-08-23T14:34:34.324" v="3822" actId="729"/>
        <pc:sldMkLst>
          <pc:docMk/>
          <pc:sldMk cId="3123906114" sldId="2147310031"/>
        </pc:sldMkLst>
        <pc:spChg chg="add mod">
          <ac:chgData name="Fernando Enrique Nuñez Zapata" userId="4887fb29-3871-42a7-b0aa-ea8d45a5c181" providerId="ADAL" clId="{8E34F22B-B89A-43FC-B613-F065E8C2BDB6}" dt="2024-08-22T16:49:55.728" v="2314"/>
          <ac:spMkLst>
            <pc:docMk/>
            <pc:sldMk cId="3123906114" sldId="2147310031"/>
            <ac:spMk id="4" creationId="{454080D5-FD1B-1653-A110-81352B45D454}"/>
          </ac:spMkLst>
        </pc:spChg>
      </pc:sldChg>
      <pc:sldChg chg="del">
        <pc:chgData name="Fernando Enrique Nuñez Zapata" userId="4887fb29-3871-42a7-b0aa-ea8d45a5c181" providerId="ADAL" clId="{8E34F22B-B89A-43FC-B613-F065E8C2BDB6}" dt="2024-08-20T21:24:28.446" v="2057" actId="47"/>
        <pc:sldMkLst>
          <pc:docMk/>
          <pc:sldMk cId="2307649156" sldId="2147310032"/>
        </pc:sldMkLst>
      </pc:sldChg>
      <pc:sldChg chg="addSp delSp modSp mod ord modShow">
        <pc:chgData name="Fernando Enrique Nuñez Zapata" userId="4887fb29-3871-42a7-b0aa-ea8d45a5c181" providerId="ADAL" clId="{8E34F22B-B89A-43FC-B613-F065E8C2BDB6}" dt="2024-08-23T14:34:34.324" v="3822" actId="729"/>
        <pc:sldMkLst>
          <pc:docMk/>
          <pc:sldMk cId="3233114531" sldId="2147310033"/>
        </pc:sldMkLst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3" creationId="{958D03F7-5D98-6211-AD9A-898D83DB1E9B}"/>
          </ac:spMkLst>
        </pc:spChg>
        <pc:spChg chg="add mod">
          <ac:chgData name="Fernando Enrique Nuñez Zapata" userId="4887fb29-3871-42a7-b0aa-ea8d45a5c181" providerId="ADAL" clId="{8E34F22B-B89A-43FC-B613-F065E8C2BDB6}" dt="2024-08-22T16:50:05.809" v="2315"/>
          <ac:spMkLst>
            <pc:docMk/>
            <pc:sldMk cId="3233114531" sldId="2147310033"/>
            <ac:spMk id="3" creationId="{BFBDF8F1-68AF-E084-502D-8D047933E97F}"/>
          </ac:spMkLst>
        </pc:spChg>
        <pc:spChg chg="mod">
          <ac:chgData name="Fernando Enrique Nuñez Zapata" userId="4887fb29-3871-42a7-b0aa-ea8d45a5c181" providerId="ADAL" clId="{8E34F22B-B89A-43FC-B613-F065E8C2BDB6}" dt="2024-08-20T21:26:12.194" v="2131" actId="20577"/>
          <ac:spMkLst>
            <pc:docMk/>
            <pc:sldMk cId="3233114531" sldId="2147310033"/>
            <ac:spMk id="7" creationId="{5010A3BD-22D1-216A-211E-F8622B62A2E1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16" creationId="{FCBEFD5F-1BB8-4D29-93EA-129B3E2B3628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17" creationId="{C503ADD9-461C-4FF4-A565-D96EC36459F0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19" creationId="{2CFE5CA9-36AB-4FC1-9990-DABDFA03BA92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39" creationId="{9610BD9A-9429-4DB0-9167-0D89CE2DB8B5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0" creationId="{BC18018A-B523-47D3-86F5-C16AC14F81BF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1" creationId="{D29C0092-B2A7-4C22-B148-33C3F9A73E5C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2" creationId="{BF0A3F1D-B2BD-46C8-8FF0-3C00E9991982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3" creationId="{8F8DA286-9CC5-4EC2-8526-0FC3FFEFB924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4" creationId="{4303F051-90FC-45D0-A873-B90173F8792F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5" creationId="{20BE46FC-2282-4042-928B-86F589760DEC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6" creationId="{4A516B9C-269E-4665-8D4C-55DFA5A6DA7F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7" creationId="{BA8EBBD0-BBF1-4116-B722-C9A6C6B66EA6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8" creationId="{312E03CA-31EB-48D8-B6A5-ACAB4AEA36A1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49" creationId="{311D58D6-37B9-4BA0-A681-D4941E4BD4C0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0" creationId="{F8D435AF-224C-47F5-9ECD-912274AEA1F9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1" creationId="{A9821016-0DEF-4CF3-9D92-8FEAC1186AF1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2" creationId="{3E7E41AD-2787-4F59-B3FB-AB54F65D1B88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3" creationId="{11B07484-F01B-46D9-99D6-752B00185571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4" creationId="{CFAA8449-F002-4543-AB58-D11AAD3407A1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5" creationId="{B0B75370-9584-4A2E-8E04-8F985DF2ECA4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6" creationId="{274234E4-F3CD-43E0-9C2E-D0502D86A32D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7" creationId="{5B741152-712E-47C0-8441-96731A4AAD86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8" creationId="{D7CFB495-3FEE-4B3E-B1A6-5A666966D33B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59" creationId="{E64F8576-BDCE-4A92-B652-F252BBA6FB8C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60" creationId="{787183DE-817F-4B8D-909A-92F4142C1E5A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61" creationId="{8097AC3F-20AB-426B-9B36-FF885A476D02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62" creationId="{869D2DB8-4BE1-4186-8EC2-4D60F93F3BB8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64" creationId="{958DD8B1-D2EC-433F-9540-D90422074F6D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65" creationId="{62B4184C-23C8-468B-B11D-2A1C527DED28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69" creationId="{A1F91D53-5499-4D85-B54A-B4211779D5C4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0" creationId="{F6B8700B-EAC3-4CAE-9D43-5ECA56AB8E26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1" creationId="{FC5D5B6D-1E61-45F9-AF07-86E79FC293E5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2" creationId="{CC600A1B-B284-4BBE-8D58-1E5018EC9ED8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3" creationId="{2225B17E-F6A9-4219-B11C-BD6BA4F3A053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4" creationId="{AE045545-7745-44EA-85A2-936BD70A900C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5" creationId="{FCB2042C-2C11-4142-970E-4A071CA0F6C6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6" creationId="{1EE437D5-9A84-44D9-8028-838BD68390AD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7" creationId="{0EFA72E3-EC39-406E-A32B-D0D98E22F09F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78" creationId="{EAA79790-5E83-4D91-AF92-F737299E0060}"/>
          </ac:spMkLst>
        </pc:spChg>
        <pc:spChg chg="del">
          <ac:chgData name="Fernando Enrique Nuñez Zapata" userId="4887fb29-3871-42a7-b0aa-ea8d45a5c181" providerId="ADAL" clId="{8E34F22B-B89A-43FC-B613-F065E8C2BDB6}" dt="2024-08-20T21:25:35.535" v="2075" actId="478"/>
          <ac:spMkLst>
            <pc:docMk/>
            <pc:sldMk cId="3233114531" sldId="2147310033"/>
            <ac:spMk id="83" creationId="{D2577C75-67EE-47D7-93E0-805743C8FEFD}"/>
          </ac:spMkLst>
        </pc:spChg>
        <pc:grpChg chg="del">
          <ac:chgData name="Fernando Enrique Nuñez Zapata" userId="4887fb29-3871-42a7-b0aa-ea8d45a5c181" providerId="ADAL" clId="{8E34F22B-B89A-43FC-B613-F065E8C2BDB6}" dt="2024-08-20T21:25:35.535" v="2075" actId="478"/>
          <ac:grpSpMkLst>
            <pc:docMk/>
            <pc:sldMk cId="3233114531" sldId="2147310033"/>
            <ac:grpSpMk id="21" creationId="{F447FB05-5501-4E05-90EC-BA73FE1E246E}"/>
          </ac:grpSpMkLst>
        </pc:grpChg>
        <pc:picChg chg="del">
          <ac:chgData name="Fernando Enrique Nuñez Zapata" userId="4887fb29-3871-42a7-b0aa-ea8d45a5c181" providerId="ADAL" clId="{8E34F22B-B89A-43FC-B613-F065E8C2BDB6}" dt="2024-08-20T21:25:35.535" v="2075" actId="478"/>
          <ac:picMkLst>
            <pc:docMk/>
            <pc:sldMk cId="3233114531" sldId="2147310033"/>
            <ac:picMk id="80" creationId="{35FBB5CC-D01C-4654-86E2-6728F89DC6AC}"/>
          </ac:picMkLst>
        </pc:picChg>
        <pc:picChg chg="del">
          <ac:chgData name="Fernando Enrique Nuñez Zapata" userId="4887fb29-3871-42a7-b0aa-ea8d45a5c181" providerId="ADAL" clId="{8E34F22B-B89A-43FC-B613-F065E8C2BDB6}" dt="2024-08-20T21:25:35.535" v="2075" actId="478"/>
          <ac:picMkLst>
            <pc:docMk/>
            <pc:sldMk cId="3233114531" sldId="2147310033"/>
            <ac:picMk id="81" creationId="{9BB257EB-27D7-4746-A9BE-7DB41C63ECD9}"/>
          </ac:picMkLst>
        </pc:picChg>
        <pc:picChg chg="del">
          <ac:chgData name="Fernando Enrique Nuñez Zapata" userId="4887fb29-3871-42a7-b0aa-ea8d45a5c181" providerId="ADAL" clId="{8E34F22B-B89A-43FC-B613-F065E8C2BDB6}" dt="2024-08-20T21:25:35.535" v="2075" actId="478"/>
          <ac:picMkLst>
            <pc:docMk/>
            <pc:sldMk cId="3233114531" sldId="2147310033"/>
            <ac:picMk id="82" creationId="{1CF07E11-AF34-4712-A184-17C346A955E4}"/>
          </ac:picMkLst>
        </pc:picChg>
        <pc:cxnChg chg="del">
          <ac:chgData name="Fernando Enrique Nuñez Zapata" userId="4887fb29-3871-42a7-b0aa-ea8d45a5c181" providerId="ADAL" clId="{8E34F22B-B89A-43FC-B613-F065E8C2BDB6}" dt="2024-08-20T21:25:35.535" v="2075" actId="478"/>
          <ac:cxnSpMkLst>
            <pc:docMk/>
            <pc:sldMk cId="3233114531" sldId="2147310033"/>
            <ac:cxnSpMk id="36" creationId="{B7456D24-D055-4F99-8CF4-EEF2CDEA99D6}"/>
          </ac:cxnSpMkLst>
        </pc:cxnChg>
      </pc:sldChg>
      <pc:sldChg chg="del">
        <pc:chgData name="Fernando Enrique Nuñez Zapata" userId="4887fb29-3871-42a7-b0aa-ea8d45a5c181" providerId="ADAL" clId="{8E34F22B-B89A-43FC-B613-F065E8C2BDB6}" dt="2024-08-20T21:24:25.791" v="2055" actId="47"/>
        <pc:sldMkLst>
          <pc:docMk/>
          <pc:sldMk cId="78904634" sldId="2147310034"/>
        </pc:sldMkLst>
      </pc:sldChg>
      <pc:sldChg chg="addSp delSp modSp add mod">
        <pc:chgData name="Fernando Enrique Nuñez Zapata" userId="4887fb29-3871-42a7-b0aa-ea8d45a5c181" providerId="ADAL" clId="{8E34F22B-B89A-43FC-B613-F065E8C2BDB6}" dt="2024-08-22T19:51:12.446" v="3354"/>
        <pc:sldMkLst>
          <pc:docMk/>
          <pc:sldMk cId="321441338" sldId="2147310034"/>
        </pc:sldMkLst>
        <pc:spChg chg="add mod">
          <ac:chgData name="Fernando Enrique Nuñez Zapata" userId="4887fb29-3871-42a7-b0aa-ea8d45a5c181" providerId="ADAL" clId="{8E34F22B-B89A-43FC-B613-F065E8C2BDB6}" dt="2024-08-22T17:43:59.587" v="3324" actId="1036"/>
          <ac:spMkLst>
            <pc:docMk/>
            <pc:sldMk cId="321441338" sldId="2147310034"/>
            <ac:spMk id="4" creationId="{0BA28C50-95E0-A014-6135-B82DEBCD3FD6}"/>
          </ac:spMkLst>
        </pc:spChg>
        <pc:spChg chg="add mod">
          <ac:chgData name="Fernando Enrique Nuñez Zapata" userId="4887fb29-3871-42a7-b0aa-ea8d45a5c181" providerId="ADAL" clId="{8E34F22B-B89A-43FC-B613-F065E8C2BDB6}" dt="2024-08-22T17:44:14.771" v="3326" actId="113"/>
          <ac:spMkLst>
            <pc:docMk/>
            <pc:sldMk cId="321441338" sldId="2147310034"/>
            <ac:spMk id="7" creationId="{2CC9975B-BA46-B543-BE52-BCF45F510DCB}"/>
          </ac:spMkLst>
        </pc:spChg>
        <pc:spChg chg="mod">
          <ac:chgData name="Fernando Enrique Nuñez Zapata" userId="4887fb29-3871-42a7-b0aa-ea8d45a5c181" providerId="ADAL" clId="{8E34F22B-B89A-43FC-B613-F065E8C2BDB6}" dt="2024-08-22T17:43:32.365" v="3315" actId="1035"/>
          <ac:spMkLst>
            <pc:docMk/>
            <pc:sldMk cId="321441338" sldId="2147310034"/>
            <ac:spMk id="9" creationId="{39215DD9-429B-90A4-95EC-7E6F91EE5A51}"/>
          </ac:spMkLst>
        </pc:spChg>
        <pc:spChg chg="mod">
          <ac:chgData name="Fernando Enrique Nuñez Zapata" userId="4887fb29-3871-42a7-b0aa-ea8d45a5c181" providerId="ADAL" clId="{8E34F22B-B89A-43FC-B613-F065E8C2BDB6}" dt="2024-08-22T17:43:32.365" v="3315" actId="1035"/>
          <ac:spMkLst>
            <pc:docMk/>
            <pc:sldMk cId="321441338" sldId="2147310034"/>
            <ac:spMk id="10" creationId="{C8BC7A37-CCA8-76A0-3A9B-038168883344}"/>
          </ac:spMkLst>
        </pc:spChg>
        <pc:spChg chg="mod">
          <ac:chgData name="Fernando Enrique Nuñez Zapata" userId="4887fb29-3871-42a7-b0aa-ea8d45a5c181" providerId="ADAL" clId="{8E34F22B-B89A-43FC-B613-F065E8C2BDB6}" dt="2024-08-22T17:43:32.365" v="3315" actId="1035"/>
          <ac:spMkLst>
            <pc:docMk/>
            <pc:sldMk cId="321441338" sldId="2147310034"/>
            <ac:spMk id="12" creationId="{EE3F932D-B0B8-A286-A1BB-27E726DCB987}"/>
          </ac:spMkLst>
        </pc:spChg>
        <pc:spChg chg="mod">
          <ac:chgData name="Fernando Enrique Nuñez Zapata" userId="4887fb29-3871-42a7-b0aa-ea8d45a5c181" providerId="ADAL" clId="{8E34F22B-B89A-43FC-B613-F065E8C2BDB6}" dt="2024-08-22T17:43:43.519" v="3321" actId="1036"/>
          <ac:spMkLst>
            <pc:docMk/>
            <pc:sldMk cId="321441338" sldId="2147310034"/>
            <ac:spMk id="18" creationId="{E6C6390B-0F9A-9735-DFAA-F8504DB559CA}"/>
          </ac:spMkLst>
        </pc:spChg>
        <pc:spChg chg="add del mod">
          <ac:chgData name="Fernando Enrique Nuñez Zapata" userId="4887fb29-3871-42a7-b0aa-ea8d45a5c181" providerId="ADAL" clId="{8E34F22B-B89A-43FC-B613-F065E8C2BDB6}" dt="2024-08-22T17:41:12.398" v="3254"/>
          <ac:spMkLst>
            <pc:docMk/>
            <pc:sldMk cId="321441338" sldId="2147310034"/>
            <ac:spMk id="22" creationId="{CE7BAA93-5AB4-51BD-6B3A-EB47928FF4CB}"/>
          </ac:spMkLst>
        </pc:spChg>
        <pc:spChg chg="mod">
          <ac:chgData name="Fernando Enrique Nuñez Zapata" userId="4887fb29-3871-42a7-b0aa-ea8d45a5c181" providerId="ADAL" clId="{8E34F22B-B89A-43FC-B613-F065E8C2BDB6}" dt="2024-08-22T17:43:32.365" v="3315" actId="1035"/>
          <ac:spMkLst>
            <pc:docMk/>
            <pc:sldMk cId="321441338" sldId="2147310034"/>
            <ac:spMk id="28" creationId="{1BB3128D-6961-C00B-B97E-82C84FE820BC}"/>
          </ac:spMkLst>
        </pc:spChg>
        <pc:spChg chg="mod">
          <ac:chgData name="Fernando Enrique Nuñez Zapata" userId="4887fb29-3871-42a7-b0aa-ea8d45a5c181" providerId="ADAL" clId="{8E34F22B-B89A-43FC-B613-F065E8C2BDB6}" dt="2024-08-22T17:43:32.365" v="3315" actId="1035"/>
          <ac:spMkLst>
            <pc:docMk/>
            <pc:sldMk cId="321441338" sldId="2147310034"/>
            <ac:spMk id="29" creationId="{34913F2E-D48F-B859-1884-A3D0BB140D5A}"/>
          </ac:spMkLst>
        </pc:spChg>
        <pc:spChg chg="add del mod">
          <ac:chgData name="Fernando Enrique Nuñez Zapata" userId="4887fb29-3871-42a7-b0aa-ea8d45a5c181" providerId="ADAL" clId="{8E34F22B-B89A-43FC-B613-F065E8C2BDB6}" dt="2024-08-22T17:41:39.571" v="3258" actId="478"/>
          <ac:spMkLst>
            <pc:docMk/>
            <pc:sldMk cId="321441338" sldId="2147310034"/>
            <ac:spMk id="33" creationId="{B4D0F7E5-62D2-CA41-8E69-C128D9595977}"/>
          </ac:spMkLst>
        </pc:spChg>
        <pc:spChg chg="add del mod">
          <ac:chgData name="Fernando Enrique Nuñez Zapata" userId="4887fb29-3871-42a7-b0aa-ea8d45a5c181" providerId="ADAL" clId="{8E34F22B-B89A-43FC-B613-F065E8C2BDB6}" dt="2024-08-22T17:41:59.358" v="3296" actId="478"/>
          <ac:spMkLst>
            <pc:docMk/>
            <pc:sldMk cId="321441338" sldId="2147310034"/>
            <ac:spMk id="35" creationId="{E3B4EC5C-04F9-3B05-8678-41AD62A2E6E4}"/>
          </ac:spMkLst>
        </pc:spChg>
        <pc:spChg chg="add mod">
          <ac:chgData name="Fernando Enrique Nuñez Zapata" userId="4887fb29-3871-42a7-b0aa-ea8d45a5c181" providerId="ADAL" clId="{8E34F22B-B89A-43FC-B613-F065E8C2BDB6}" dt="2024-08-22T17:44:23.488" v="3328" actId="113"/>
          <ac:spMkLst>
            <pc:docMk/>
            <pc:sldMk cId="321441338" sldId="2147310034"/>
            <ac:spMk id="36" creationId="{2B5EEAB9-F8B7-8A40-B51C-F9C47989865F}"/>
          </ac:spMkLst>
        </pc:spChg>
        <pc:graphicFrameChg chg="mod">
          <ac:chgData name="Fernando Enrique Nuñez Zapata" userId="4887fb29-3871-42a7-b0aa-ea8d45a5c181" providerId="ADAL" clId="{8E34F22B-B89A-43FC-B613-F065E8C2BDB6}" dt="2024-08-22T17:43:32.365" v="3315" actId="1035"/>
          <ac:graphicFrameMkLst>
            <pc:docMk/>
            <pc:sldMk cId="321441338" sldId="2147310034"/>
            <ac:graphicFrameMk id="6" creationId="{FCEFA422-B86E-6052-31E3-1E267A86F7F7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9:49:55.318" v="3344"/>
          <ac:graphicFrameMkLst>
            <pc:docMk/>
            <pc:sldMk cId="321441338" sldId="2147310034"/>
            <ac:graphicFrameMk id="8" creationId="{4DC0704C-7EB4-4BF7-A0CF-FF0BBE31F4DD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7:43:43.519" v="3321" actId="1036"/>
          <ac:graphicFrameMkLst>
            <pc:docMk/>
            <pc:sldMk cId="321441338" sldId="2147310034"/>
            <ac:graphicFrameMk id="11" creationId="{74D949B2-AD22-BD50-BD36-4F2424CE0D30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7:43:43.519" v="3321" actId="1036"/>
          <ac:graphicFrameMkLst>
            <pc:docMk/>
            <pc:sldMk cId="321441338" sldId="2147310034"/>
            <ac:graphicFrameMk id="15" creationId="{DFCC1CC8-9C7E-E777-ACFE-1604DB07EED8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7:43:43.519" v="3321" actId="1036"/>
          <ac:graphicFrameMkLst>
            <pc:docMk/>
            <pc:sldMk cId="321441338" sldId="2147310034"/>
            <ac:graphicFrameMk id="16" creationId="{B8707EAE-9863-07CA-AA94-0008F5303C1A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7:43:43.519" v="3321" actId="1036"/>
          <ac:graphicFrameMkLst>
            <pc:docMk/>
            <pc:sldMk cId="321441338" sldId="2147310034"/>
            <ac:graphicFrameMk id="20" creationId="{1D37815E-6E06-C46C-175A-392B47B95304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9:50:25.605" v="3347"/>
          <ac:graphicFrameMkLst>
            <pc:docMk/>
            <pc:sldMk cId="321441338" sldId="2147310034"/>
            <ac:graphicFrameMk id="21" creationId="{C01F56F9-A316-448A-9A4A-BD0E8DE6E225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9:50:52.954" v="3351"/>
          <ac:graphicFrameMkLst>
            <pc:docMk/>
            <pc:sldMk cId="321441338" sldId="2147310034"/>
            <ac:graphicFrameMk id="26" creationId="{80518FF7-E91E-47DE-96AF-C763E7E0CF02}"/>
          </ac:graphicFrameMkLst>
        </pc:graphicFrameChg>
        <pc:graphicFrameChg chg="mod">
          <ac:chgData name="Fernando Enrique Nuñez Zapata" userId="4887fb29-3871-42a7-b0aa-ea8d45a5c181" providerId="ADAL" clId="{8E34F22B-B89A-43FC-B613-F065E8C2BDB6}" dt="2024-08-22T19:51:12.446" v="3354"/>
          <ac:graphicFrameMkLst>
            <pc:docMk/>
            <pc:sldMk cId="321441338" sldId="2147310034"/>
            <ac:graphicFrameMk id="27" creationId="{77DE74BA-584F-402F-8D33-508233DC17CC}"/>
          </ac:graphicFrameMkLst>
        </pc:graphicFrameChg>
        <pc:picChg chg="mod">
          <ac:chgData name="Fernando Enrique Nuñez Zapata" userId="4887fb29-3871-42a7-b0aa-ea8d45a5c181" providerId="ADAL" clId="{8E34F22B-B89A-43FC-B613-F065E8C2BDB6}" dt="2024-08-22T17:43:43.519" v="3321" actId="1036"/>
          <ac:picMkLst>
            <pc:docMk/>
            <pc:sldMk cId="321441338" sldId="2147310034"/>
            <ac:picMk id="2" creationId="{B60CEB8D-E040-54B0-D959-2C98424FDC28}"/>
          </ac:picMkLst>
        </pc:picChg>
        <pc:picChg chg="mod">
          <ac:chgData name="Fernando Enrique Nuñez Zapata" userId="4887fb29-3871-42a7-b0aa-ea8d45a5c181" providerId="ADAL" clId="{8E34F22B-B89A-43FC-B613-F065E8C2BDB6}" dt="2024-08-22T17:43:32.365" v="3315" actId="1035"/>
          <ac:picMkLst>
            <pc:docMk/>
            <pc:sldMk cId="321441338" sldId="2147310034"/>
            <ac:picMk id="13" creationId="{6E42168C-D669-DEA7-533F-98E3D8426AEC}"/>
          </ac:picMkLst>
        </pc:picChg>
        <pc:picChg chg="mod">
          <ac:chgData name="Fernando Enrique Nuñez Zapata" userId="4887fb29-3871-42a7-b0aa-ea8d45a5c181" providerId="ADAL" clId="{8E34F22B-B89A-43FC-B613-F065E8C2BDB6}" dt="2024-08-22T17:43:43.519" v="3321" actId="1036"/>
          <ac:picMkLst>
            <pc:docMk/>
            <pc:sldMk cId="321441338" sldId="2147310034"/>
            <ac:picMk id="19" creationId="{8E940335-FDC8-F789-306F-4D87C340F8DE}"/>
          </ac:picMkLst>
        </pc:picChg>
        <pc:cxnChg chg="mod">
          <ac:chgData name="Fernando Enrique Nuñez Zapata" userId="4887fb29-3871-42a7-b0aa-ea8d45a5c181" providerId="ADAL" clId="{8E34F22B-B89A-43FC-B613-F065E8C2BDB6}" dt="2024-08-22T17:43:32.365" v="3315" actId="1035"/>
          <ac:cxnSpMkLst>
            <pc:docMk/>
            <pc:sldMk cId="321441338" sldId="2147310034"/>
            <ac:cxnSpMk id="3" creationId="{7452EAF0-1806-3C47-6B85-50F8BC930C79}"/>
          </ac:cxnSpMkLst>
        </pc:cxnChg>
        <pc:cxnChg chg="mod">
          <ac:chgData name="Fernando Enrique Nuñez Zapata" userId="4887fb29-3871-42a7-b0aa-ea8d45a5c181" providerId="ADAL" clId="{8E34F22B-B89A-43FC-B613-F065E8C2BDB6}" dt="2024-08-22T17:43:32.365" v="3315" actId="1035"/>
          <ac:cxnSpMkLst>
            <pc:docMk/>
            <pc:sldMk cId="321441338" sldId="2147310034"/>
            <ac:cxnSpMk id="17" creationId="{8B57760B-2606-D862-60DF-F4DD6D5CCD51}"/>
          </ac:cxnSpMkLst>
        </pc:cxnChg>
        <pc:cxnChg chg="mod">
          <ac:chgData name="Fernando Enrique Nuñez Zapata" userId="4887fb29-3871-42a7-b0aa-ea8d45a5c181" providerId="ADAL" clId="{8E34F22B-B89A-43FC-B613-F065E8C2BDB6}" dt="2024-08-22T17:43:32.365" v="3315" actId="1035"/>
          <ac:cxnSpMkLst>
            <pc:docMk/>
            <pc:sldMk cId="321441338" sldId="2147310034"/>
            <ac:cxnSpMk id="24" creationId="{1FF3DFE8-46B9-5D5A-9CA1-6C2CF61C8184}"/>
          </ac:cxnSpMkLst>
        </pc:cxnChg>
      </pc:sldChg>
      <pc:sldChg chg="addSp delSp add del mod">
        <pc:chgData name="Fernando Enrique Nuñez Zapata" userId="4887fb29-3871-42a7-b0aa-ea8d45a5c181" providerId="ADAL" clId="{8E34F22B-B89A-43FC-B613-F065E8C2BDB6}" dt="2024-08-22T16:47:33.741" v="2268" actId="47"/>
        <pc:sldMkLst>
          <pc:docMk/>
          <pc:sldMk cId="521570219" sldId="2147310034"/>
        </pc:sldMkLst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3" creationId="{958D03F7-5D98-6211-AD9A-898D83DB1E9B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16" creationId="{FCBEFD5F-1BB8-4D29-93EA-129B3E2B3628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17" creationId="{C503ADD9-461C-4FF4-A565-D96EC36459F0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19" creationId="{2CFE5CA9-36AB-4FC1-9990-DABDFA03BA92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39" creationId="{9610BD9A-9429-4DB0-9167-0D89CE2DB8B5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0" creationId="{BC18018A-B523-47D3-86F5-C16AC14F81BF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1" creationId="{D29C0092-B2A7-4C22-B148-33C3F9A73E5C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2" creationId="{BF0A3F1D-B2BD-46C8-8FF0-3C00E9991982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3" creationId="{8F8DA286-9CC5-4EC2-8526-0FC3FFEFB924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4" creationId="{4303F051-90FC-45D0-A873-B90173F8792F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5" creationId="{20BE46FC-2282-4042-928B-86F589760DEC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6" creationId="{4A516B9C-269E-4665-8D4C-55DFA5A6DA7F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7" creationId="{BA8EBBD0-BBF1-4116-B722-C9A6C6B66EA6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8" creationId="{312E03CA-31EB-48D8-B6A5-ACAB4AEA36A1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49" creationId="{311D58D6-37B9-4BA0-A681-D4941E4BD4C0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0" creationId="{F8D435AF-224C-47F5-9ECD-912274AEA1F9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1" creationId="{A9821016-0DEF-4CF3-9D92-8FEAC1186AF1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2" creationId="{3E7E41AD-2787-4F59-B3FB-AB54F65D1B88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3" creationId="{11B07484-F01B-46D9-99D6-752B00185571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4" creationId="{CFAA8449-F002-4543-AB58-D11AAD3407A1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5" creationId="{B0B75370-9584-4A2E-8E04-8F985DF2ECA4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6" creationId="{274234E4-F3CD-43E0-9C2E-D0502D86A32D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7" creationId="{5B741152-712E-47C0-8441-96731A4AAD86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8" creationId="{D7CFB495-3FEE-4B3E-B1A6-5A666966D33B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59" creationId="{E64F8576-BDCE-4A92-B652-F252BBA6FB8C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60" creationId="{787183DE-817F-4B8D-909A-92F4142C1E5A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61" creationId="{8097AC3F-20AB-426B-9B36-FF885A476D02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62" creationId="{869D2DB8-4BE1-4186-8EC2-4D60F93F3BB8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64" creationId="{958DD8B1-D2EC-433F-9540-D90422074F6D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65" creationId="{62B4184C-23C8-468B-B11D-2A1C527DED28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69" creationId="{A1F91D53-5499-4D85-B54A-B4211779D5C4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0" creationId="{F6B8700B-EAC3-4CAE-9D43-5ECA56AB8E26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1" creationId="{FC5D5B6D-1E61-45F9-AF07-86E79FC293E5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2" creationId="{CC600A1B-B284-4BBE-8D58-1E5018EC9ED8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3" creationId="{2225B17E-F6A9-4219-B11C-BD6BA4F3A053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4" creationId="{AE045545-7745-44EA-85A2-936BD70A900C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5" creationId="{FCB2042C-2C11-4142-970E-4A071CA0F6C6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6" creationId="{1EE437D5-9A84-44D9-8028-838BD68390AD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7" creationId="{0EFA72E3-EC39-406E-A32B-D0D98E22F09F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78" creationId="{EAA79790-5E83-4D91-AF92-F737299E0060}"/>
          </ac:spMkLst>
        </pc:spChg>
        <pc:spChg chg="add del">
          <ac:chgData name="Fernando Enrique Nuñez Zapata" userId="4887fb29-3871-42a7-b0aa-ea8d45a5c181" providerId="ADAL" clId="{8E34F22B-B89A-43FC-B613-F065E8C2BDB6}" dt="2024-08-20T21:52:30.720" v="2255" actId="478"/>
          <ac:spMkLst>
            <pc:docMk/>
            <pc:sldMk cId="521570219" sldId="2147310034"/>
            <ac:spMk id="83" creationId="{D2577C75-67EE-47D7-93E0-805743C8FEFD}"/>
          </ac:spMkLst>
        </pc:spChg>
        <pc:grpChg chg="add del">
          <ac:chgData name="Fernando Enrique Nuñez Zapata" userId="4887fb29-3871-42a7-b0aa-ea8d45a5c181" providerId="ADAL" clId="{8E34F22B-B89A-43FC-B613-F065E8C2BDB6}" dt="2024-08-20T21:52:30.720" v="2255" actId="478"/>
          <ac:grpSpMkLst>
            <pc:docMk/>
            <pc:sldMk cId="521570219" sldId="2147310034"/>
            <ac:grpSpMk id="21" creationId="{F447FB05-5501-4E05-90EC-BA73FE1E246E}"/>
          </ac:grpSpMkLst>
        </pc:grpChg>
        <pc:picChg chg="add del">
          <ac:chgData name="Fernando Enrique Nuñez Zapata" userId="4887fb29-3871-42a7-b0aa-ea8d45a5c181" providerId="ADAL" clId="{8E34F22B-B89A-43FC-B613-F065E8C2BDB6}" dt="2024-08-20T21:52:30.720" v="2255" actId="478"/>
          <ac:picMkLst>
            <pc:docMk/>
            <pc:sldMk cId="521570219" sldId="2147310034"/>
            <ac:picMk id="80" creationId="{35FBB5CC-D01C-4654-86E2-6728F89DC6AC}"/>
          </ac:picMkLst>
        </pc:picChg>
        <pc:picChg chg="add del">
          <ac:chgData name="Fernando Enrique Nuñez Zapata" userId="4887fb29-3871-42a7-b0aa-ea8d45a5c181" providerId="ADAL" clId="{8E34F22B-B89A-43FC-B613-F065E8C2BDB6}" dt="2024-08-20T21:52:30.720" v="2255" actId="478"/>
          <ac:picMkLst>
            <pc:docMk/>
            <pc:sldMk cId="521570219" sldId="2147310034"/>
            <ac:picMk id="81" creationId="{9BB257EB-27D7-4746-A9BE-7DB41C63ECD9}"/>
          </ac:picMkLst>
        </pc:picChg>
        <pc:picChg chg="add del">
          <ac:chgData name="Fernando Enrique Nuñez Zapata" userId="4887fb29-3871-42a7-b0aa-ea8d45a5c181" providerId="ADAL" clId="{8E34F22B-B89A-43FC-B613-F065E8C2BDB6}" dt="2024-08-20T21:52:30.720" v="2255" actId="478"/>
          <ac:picMkLst>
            <pc:docMk/>
            <pc:sldMk cId="521570219" sldId="2147310034"/>
            <ac:picMk id="82" creationId="{1CF07E11-AF34-4712-A184-17C346A955E4}"/>
          </ac:picMkLst>
        </pc:picChg>
        <pc:cxnChg chg="add del">
          <ac:chgData name="Fernando Enrique Nuñez Zapata" userId="4887fb29-3871-42a7-b0aa-ea8d45a5c181" providerId="ADAL" clId="{8E34F22B-B89A-43FC-B613-F065E8C2BDB6}" dt="2024-08-20T21:52:30.720" v="2255" actId="478"/>
          <ac:cxnSpMkLst>
            <pc:docMk/>
            <pc:sldMk cId="521570219" sldId="2147310034"/>
            <ac:cxnSpMk id="36" creationId="{B7456D24-D055-4F99-8CF4-EEF2CDEA99D6}"/>
          </ac:cxnSpMkLst>
        </pc:cxnChg>
      </pc:sldChg>
    </pc:docChg>
  </pc:docChgLst>
  <pc:docChgLst>
    <pc:chgData name="Juan Enrique Córdova Woo" userId="48e678bc-df39-4a8a-a383-6b816eb75cf2" providerId="ADAL" clId="{7FD55559-C53A-4D8A-8383-7E5BD164E32D}"/>
    <pc:docChg chg="undo custSel addSld delSld modSld sldOrd modSection">
      <pc:chgData name="Juan Enrique Córdova Woo" userId="48e678bc-df39-4a8a-a383-6b816eb75cf2" providerId="ADAL" clId="{7FD55559-C53A-4D8A-8383-7E5BD164E32D}" dt="2024-05-16T20:39:02.457" v="1795" actId="2085"/>
      <pc:docMkLst>
        <pc:docMk/>
      </pc:docMkLst>
      <pc:sldChg chg="addSp delSp modSp mod delAnim modAnim">
        <pc:chgData name="Juan Enrique Córdova Woo" userId="48e678bc-df39-4a8a-a383-6b816eb75cf2" providerId="ADAL" clId="{7FD55559-C53A-4D8A-8383-7E5BD164E32D}" dt="2024-05-16T16:34:24.155" v="1782" actId="20577"/>
        <pc:sldMkLst>
          <pc:docMk/>
          <pc:sldMk cId="3859250616" sldId="2147310010"/>
        </pc:sldMkLst>
        <pc:spChg chg="add del mod">
          <ac:chgData name="Juan Enrique Córdova Woo" userId="48e678bc-df39-4a8a-a383-6b816eb75cf2" providerId="ADAL" clId="{7FD55559-C53A-4D8A-8383-7E5BD164E32D}" dt="2024-05-14T20:37:00.994" v="449" actId="478"/>
          <ac:spMkLst>
            <pc:docMk/>
            <pc:sldMk cId="3859250616" sldId="2147310010"/>
            <ac:spMk id="10" creationId="{8846190C-CD36-C2F6-A692-0455981E4A17}"/>
          </ac:spMkLst>
        </pc:spChg>
        <pc:spChg chg="add mod">
          <ac:chgData name="Juan Enrique Córdova Woo" userId="48e678bc-df39-4a8a-a383-6b816eb75cf2" providerId="ADAL" clId="{7FD55559-C53A-4D8A-8383-7E5BD164E32D}" dt="2024-05-14T20:37:29.092" v="477" actId="1036"/>
          <ac:spMkLst>
            <pc:docMk/>
            <pc:sldMk cId="3859250616" sldId="2147310010"/>
            <ac:spMk id="11" creationId="{DC3BD483-F9C1-8DFE-E338-7EA0168F4F08}"/>
          </ac:spMkLst>
        </pc:spChg>
        <pc:spChg chg="mod">
          <ac:chgData name="Juan Enrique Córdova Woo" userId="48e678bc-df39-4a8a-a383-6b816eb75cf2" providerId="ADAL" clId="{7FD55559-C53A-4D8A-8383-7E5BD164E32D}" dt="2024-05-14T19:59:42.332" v="147" actId="1036"/>
          <ac:spMkLst>
            <pc:docMk/>
            <pc:sldMk cId="3859250616" sldId="2147310010"/>
            <ac:spMk id="20" creationId="{0024B762-D114-F046-5A8A-9FD72FB66685}"/>
          </ac:spMkLst>
        </pc:spChg>
        <pc:spChg chg="del">
          <ac:chgData name="Juan Enrique Córdova Woo" userId="48e678bc-df39-4a8a-a383-6b816eb75cf2" providerId="ADAL" clId="{7FD55559-C53A-4D8A-8383-7E5BD164E32D}" dt="2024-05-14T20:55:08.624" v="897" actId="478"/>
          <ac:spMkLst>
            <pc:docMk/>
            <pc:sldMk cId="3859250616" sldId="2147310010"/>
            <ac:spMk id="60" creationId="{D1C9BB9F-7163-6A6D-D663-9DD40E616033}"/>
          </ac:spMkLst>
        </pc:spChg>
        <pc:spChg chg="mod">
          <ac:chgData name="Juan Enrique Córdova Woo" userId="48e678bc-df39-4a8a-a383-6b816eb75cf2" providerId="ADAL" clId="{7FD55559-C53A-4D8A-8383-7E5BD164E32D}" dt="2024-05-14T20:37:23.719" v="467" actId="20577"/>
          <ac:spMkLst>
            <pc:docMk/>
            <pc:sldMk cId="3859250616" sldId="2147310010"/>
            <ac:spMk id="95" creationId="{1E36C828-9251-7A0D-8548-438D1BC31F5A}"/>
          </ac:spMkLst>
        </pc:spChg>
        <pc:spChg chg="mod">
          <ac:chgData name="Juan Enrique Córdova Woo" userId="48e678bc-df39-4a8a-a383-6b816eb75cf2" providerId="ADAL" clId="{7FD55559-C53A-4D8A-8383-7E5BD164E32D}" dt="2024-05-14T20:37:11.297" v="464" actId="1035"/>
          <ac:spMkLst>
            <pc:docMk/>
            <pc:sldMk cId="3859250616" sldId="2147310010"/>
            <ac:spMk id="99" creationId="{C0D5A59D-44DB-E684-9DB1-3A9CDE79691A}"/>
          </ac:spMkLst>
        </pc:spChg>
        <pc:spChg chg="mod">
          <ac:chgData name="Juan Enrique Córdova Woo" userId="48e678bc-df39-4a8a-a383-6b816eb75cf2" providerId="ADAL" clId="{7FD55559-C53A-4D8A-8383-7E5BD164E32D}" dt="2024-05-14T20:37:20.752" v="466" actId="20577"/>
          <ac:spMkLst>
            <pc:docMk/>
            <pc:sldMk cId="3859250616" sldId="2147310010"/>
            <ac:spMk id="101" creationId="{F56E5407-E8CF-1457-A0E3-B6C96658378F}"/>
          </ac:spMkLst>
        </pc:spChg>
        <pc:spChg chg="mod">
          <ac:chgData name="Juan Enrique Córdova Woo" userId="48e678bc-df39-4a8a-a383-6b816eb75cf2" providerId="ADAL" clId="{7FD55559-C53A-4D8A-8383-7E5BD164E32D}" dt="2024-05-14T20:10:29.955" v="165" actId="207"/>
          <ac:spMkLst>
            <pc:docMk/>
            <pc:sldMk cId="3859250616" sldId="2147310010"/>
            <ac:spMk id="104" creationId="{5D8422E2-EB36-49DB-8570-A731E28EBA4B}"/>
          </ac:spMkLst>
        </pc:spChg>
        <pc:spChg chg="mod">
          <ac:chgData name="Juan Enrique Córdova Woo" userId="48e678bc-df39-4a8a-a383-6b816eb75cf2" providerId="ADAL" clId="{7FD55559-C53A-4D8A-8383-7E5BD164E32D}" dt="2024-05-14T19:59:50.582" v="157" actId="1036"/>
          <ac:spMkLst>
            <pc:docMk/>
            <pc:sldMk cId="3859250616" sldId="2147310010"/>
            <ac:spMk id="105" creationId="{73D40486-DE55-3DA7-2940-6686DB4563A5}"/>
          </ac:spMkLst>
        </pc:spChg>
        <pc:spChg chg="mod">
          <ac:chgData name="Juan Enrique Córdova Woo" userId="48e678bc-df39-4a8a-a383-6b816eb75cf2" providerId="ADAL" clId="{7FD55559-C53A-4D8A-8383-7E5BD164E32D}" dt="2024-05-14T20:37:29.092" v="477" actId="1036"/>
          <ac:spMkLst>
            <pc:docMk/>
            <pc:sldMk cId="3859250616" sldId="2147310010"/>
            <ac:spMk id="106" creationId="{72116619-BA42-BEBD-B68B-E4E2C0E492F0}"/>
          </ac:spMkLst>
        </pc:spChg>
        <pc:spChg chg="del">
          <ac:chgData name="Juan Enrique Córdova Woo" userId="48e678bc-df39-4a8a-a383-6b816eb75cf2" providerId="ADAL" clId="{7FD55559-C53A-4D8A-8383-7E5BD164E32D}" dt="2024-05-14T20:36:58.565" v="448" actId="478"/>
          <ac:spMkLst>
            <pc:docMk/>
            <pc:sldMk cId="3859250616" sldId="2147310010"/>
            <ac:spMk id="109" creationId="{3FB8554A-6323-F738-88A8-58C6605DD27C}"/>
          </ac:spMkLst>
        </pc:spChg>
        <pc:spChg chg="mod">
          <ac:chgData name="Juan Enrique Córdova Woo" userId="48e678bc-df39-4a8a-a383-6b816eb75cf2" providerId="ADAL" clId="{7FD55559-C53A-4D8A-8383-7E5BD164E32D}" dt="2024-05-14T20:10:20.731" v="163" actId="207"/>
          <ac:spMkLst>
            <pc:docMk/>
            <pc:sldMk cId="3859250616" sldId="2147310010"/>
            <ac:spMk id="128" creationId="{F2315BB7-FBF3-84B1-9E97-AF4A3D6EEAF1}"/>
          </ac:spMkLst>
        </pc:spChg>
        <pc:spChg chg="mod">
          <ac:chgData name="Juan Enrique Córdova Woo" userId="48e678bc-df39-4a8a-a383-6b816eb75cf2" providerId="ADAL" clId="{7FD55559-C53A-4D8A-8383-7E5BD164E32D}" dt="2024-05-14T20:10:38.821" v="167" actId="207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Juan Enrique Córdova Woo" userId="48e678bc-df39-4a8a-a383-6b816eb75cf2" providerId="ADAL" clId="{7FD55559-C53A-4D8A-8383-7E5BD164E32D}" dt="2024-05-14T20:10:44.394" v="169" actId="207"/>
          <ac:spMkLst>
            <pc:docMk/>
            <pc:sldMk cId="3859250616" sldId="2147310010"/>
            <ac:spMk id="130" creationId="{1C78E1CB-3E5F-962B-D1F3-2168A7EA4945}"/>
          </ac:spMkLst>
        </pc:spChg>
        <pc:grpChg chg="mod">
          <ac:chgData name="Juan Enrique Córdova Woo" userId="48e678bc-df39-4a8a-a383-6b816eb75cf2" providerId="ADAL" clId="{7FD55559-C53A-4D8A-8383-7E5BD164E32D}" dt="2024-05-14T20:37:50.069" v="495" actId="14100"/>
          <ac:grpSpMkLst>
            <pc:docMk/>
            <pc:sldMk cId="3859250616" sldId="2147310010"/>
            <ac:grpSpMk id="19" creationId="{B63DE317-0B7F-07F3-02DC-C07F39DD420B}"/>
          </ac:grpSpMkLst>
        </pc:grpChg>
        <pc:grpChg chg="del mod">
          <ac:chgData name="Juan Enrique Córdova Woo" userId="48e678bc-df39-4a8a-a383-6b816eb75cf2" providerId="ADAL" clId="{7FD55559-C53A-4D8A-8383-7E5BD164E32D}" dt="2024-05-14T20:36:15.749" v="437" actId="478"/>
          <ac:grpSpMkLst>
            <pc:docMk/>
            <pc:sldMk cId="3859250616" sldId="2147310010"/>
            <ac:grpSpMk id="27" creationId="{FE97B0FA-2562-F9FE-4A61-547DA7A55C58}"/>
          </ac:grpSpMkLst>
        </pc:grpChg>
        <pc:grpChg chg="mod">
          <ac:chgData name="Juan Enrique Córdova Woo" userId="48e678bc-df39-4a8a-a383-6b816eb75cf2" providerId="ADAL" clId="{7FD55559-C53A-4D8A-8383-7E5BD164E32D}" dt="2024-05-14T20:37:37.749" v="480" actId="1038"/>
          <ac:grpSpMkLst>
            <pc:docMk/>
            <pc:sldMk cId="3859250616" sldId="2147310010"/>
            <ac:grpSpMk id="111" creationId="{528DFC98-4198-10D5-8D8E-A5F6039611C8}"/>
          </ac:grpSpMkLst>
        </pc:grpChg>
        <pc:grpChg chg="del mod">
          <ac:chgData name="Juan Enrique Córdova Woo" userId="48e678bc-df39-4a8a-a383-6b816eb75cf2" providerId="ADAL" clId="{7FD55559-C53A-4D8A-8383-7E5BD164E32D}" dt="2024-05-14T20:36:31.856" v="438" actId="478"/>
          <ac:grpSpMkLst>
            <pc:docMk/>
            <pc:sldMk cId="3859250616" sldId="2147310010"/>
            <ac:grpSpMk id="122" creationId="{BF71AAA9-90A9-CBB1-32B3-4DB418736FDE}"/>
          </ac:grpSpMkLst>
        </pc:grpChg>
        <pc:graphicFrameChg chg="add del mod">
          <ac:chgData name="Juan Enrique Córdova Woo" userId="48e678bc-df39-4a8a-a383-6b816eb75cf2" providerId="ADAL" clId="{7FD55559-C53A-4D8A-8383-7E5BD164E32D}" dt="2024-05-15T15:13:54.271" v="1392"/>
          <ac:graphicFrameMkLst>
            <pc:docMk/>
            <pc:sldMk cId="3859250616" sldId="2147310010"/>
            <ac:graphicFrameMk id="5" creationId="{A594E64D-B18D-5573-A55F-C05BBEFED098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21:16:03.145" v="1441" actId="2057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6T16:34:24.155" v="1782" actId="20577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5T15:13:47.826" v="1390" actId="572"/>
          <ac:graphicFrameMkLst>
            <pc:docMk/>
            <pc:sldMk cId="3859250616" sldId="2147310010"/>
            <ac:graphicFrameMk id="84" creationId="{0E4A6745-5BA5-C2F3-3FC1-BE781AD33559}"/>
          </ac:graphicFrameMkLst>
        </pc:graphicFrameChg>
        <pc:picChg chg="add del mod">
          <ac:chgData name="Juan Enrique Córdova Woo" userId="48e678bc-df39-4a8a-a383-6b816eb75cf2" providerId="ADAL" clId="{7FD55559-C53A-4D8A-8383-7E5BD164E32D}" dt="2024-05-15T14:41:57.159" v="1331" actId="478"/>
          <ac:picMkLst>
            <pc:docMk/>
            <pc:sldMk cId="3859250616" sldId="2147310010"/>
            <ac:picMk id="10" creationId="{E21F3491-1BBF-34A1-18BD-E6ACD267F8D3}"/>
          </ac:picMkLst>
        </pc:picChg>
      </pc:sldChg>
      <pc:sldChg chg="addSp delSp modSp mod addAnim delAnim modAnim">
        <pc:chgData name="Juan Enrique Córdova Woo" userId="48e678bc-df39-4a8a-a383-6b816eb75cf2" providerId="ADAL" clId="{7FD55559-C53A-4D8A-8383-7E5BD164E32D}" dt="2024-05-15T22:56:28.478" v="1525" actId="478"/>
        <pc:sldMkLst>
          <pc:docMk/>
          <pc:sldMk cId="659418568" sldId="2147310011"/>
        </pc:sldMkLst>
        <pc:spChg chg="add mod">
          <ac:chgData name="Juan Enrique Córdova Woo" userId="48e678bc-df39-4a8a-a383-6b816eb75cf2" providerId="ADAL" clId="{7FD55559-C53A-4D8A-8383-7E5BD164E32D}" dt="2024-05-15T15:15:08.531" v="1394" actId="1076"/>
          <ac:spMkLst>
            <pc:docMk/>
            <pc:sldMk cId="659418568" sldId="2147310011"/>
            <ac:spMk id="3" creationId="{1B4FD9C1-A962-04BE-C074-5A0529AD491A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7" creationId="{B4E3CC02-00CB-686C-B6AA-8EB7AE4E4E80}"/>
          </ac:spMkLst>
        </pc:spChg>
        <pc:spChg chg="add mod">
          <ac:chgData name="Juan Enrique Córdova Woo" userId="48e678bc-df39-4a8a-a383-6b816eb75cf2" providerId="ADAL" clId="{7FD55559-C53A-4D8A-8383-7E5BD164E32D}" dt="2024-05-15T19:49:28.804" v="1426" actId="1076"/>
          <ac:spMkLst>
            <pc:docMk/>
            <pc:sldMk cId="659418568" sldId="2147310011"/>
            <ac:spMk id="12" creationId="{4A600C0C-9714-C371-9608-B8FEECA2B72C}"/>
          </ac:spMkLst>
        </pc:spChg>
        <pc:spChg chg="add del mod">
          <ac:chgData name="Juan Enrique Córdova Woo" userId="48e678bc-df39-4a8a-a383-6b816eb75cf2" providerId="ADAL" clId="{7FD55559-C53A-4D8A-8383-7E5BD164E32D}" dt="2024-05-14T20:54:18.555" v="896" actId="478"/>
          <ac:spMkLst>
            <pc:docMk/>
            <pc:sldMk cId="659418568" sldId="2147310011"/>
            <ac:spMk id="12" creationId="{751200F3-0F6B-1BB3-84DE-1594843020EA}"/>
          </ac:spMkLst>
        </pc:spChg>
        <pc:spChg chg="add mod">
          <ac:chgData name="Juan Enrique Córdova Woo" userId="48e678bc-df39-4a8a-a383-6b816eb75cf2" providerId="ADAL" clId="{7FD55559-C53A-4D8A-8383-7E5BD164E32D}" dt="2024-05-14T20:51:40.908" v="855" actId="1035"/>
          <ac:spMkLst>
            <pc:docMk/>
            <pc:sldMk cId="659418568" sldId="2147310011"/>
            <ac:spMk id="13" creationId="{A7F9AE06-D696-4934-3E94-C88F1F554421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19" creationId="{219F0228-A5E0-622A-2D4F-539E5C6179DC}"/>
          </ac:spMkLst>
        </pc:spChg>
        <pc:spChg chg="mod">
          <ac:chgData name="Juan Enrique Córdova Woo" userId="48e678bc-df39-4a8a-a383-6b816eb75cf2" providerId="ADAL" clId="{7FD55559-C53A-4D8A-8383-7E5BD164E32D}" dt="2024-05-14T20:46:20.830" v="568" actId="1036"/>
          <ac:spMkLst>
            <pc:docMk/>
            <pc:sldMk cId="659418568" sldId="2147310011"/>
            <ac:spMk id="27" creationId="{7CF16DB1-945A-B93B-67A6-671788ECD334}"/>
          </ac:spMkLst>
        </pc:spChg>
        <pc:spChg chg="mod">
          <ac:chgData name="Juan Enrique Córdova Woo" userId="48e678bc-df39-4a8a-a383-6b816eb75cf2" providerId="ADAL" clId="{7FD55559-C53A-4D8A-8383-7E5BD164E32D}" dt="2024-05-14T20:53:22.513" v="893" actId="6549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D55559-C53A-4D8A-8383-7E5BD164E32D}" dt="2024-05-14T20:53:36.231" v="895" actId="20577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Juan Enrique Córdova Woo" userId="48e678bc-df39-4a8a-a383-6b816eb75cf2" providerId="ADAL" clId="{7FD55559-C53A-4D8A-8383-7E5BD164E32D}" dt="2024-05-14T20:51:13.569" v="791" actId="1035"/>
          <ac:spMkLst>
            <pc:docMk/>
            <pc:sldMk cId="659418568" sldId="2147310011"/>
            <ac:spMk id="55" creationId="{72D4B0F3-8C67-0E29-74DD-A4B03B0101B3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57" creationId="{4532FAF8-B96F-0731-BC66-4E3DB911091F}"/>
          </ac:spMkLst>
        </pc:spChg>
        <pc:spChg chg="add del">
          <ac:chgData name="Juan Enrique Córdova Woo" userId="48e678bc-df39-4a8a-a383-6b816eb75cf2" providerId="ADAL" clId="{7FD55559-C53A-4D8A-8383-7E5BD164E32D}" dt="2024-05-14T21:05:07.281" v="1122" actId="478"/>
          <ac:spMkLst>
            <pc:docMk/>
            <pc:sldMk cId="659418568" sldId="2147310011"/>
            <ac:spMk id="59" creationId="{E0DACF39-BA50-3E5E-CF0E-FDF8526C7BB3}"/>
          </ac:spMkLst>
        </pc:spChg>
        <pc:spChg chg="del">
          <ac:chgData name="Juan Enrique Córdova Woo" userId="48e678bc-df39-4a8a-a383-6b816eb75cf2" providerId="ADAL" clId="{7FD55559-C53A-4D8A-8383-7E5BD164E32D}" dt="2024-05-14T21:05:23.322" v="1124" actId="478"/>
          <ac:spMkLst>
            <pc:docMk/>
            <pc:sldMk cId="659418568" sldId="2147310011"/>
            <ac:spMk id="60" creationId="{55B96CF4-057C-BAF4-D262-C61572D2E81A}"/>
          </ac:spMkLst>
        </pc:spChg>
        <pc:spChg chg="del">
          <ac:chgData name="Juan Enrique Córdova Woo" userId="48e678bc-df39-4a8a-a383-6b816eb75cf2" providerId="ADAL" clId="{7FD55559-C53A-4D8A-8383-7E5BD164E32D}" dt="2024-05-14T21:05:13.271" v="1123" actId="478"/>
          <ac:spMkLst>
            <pc:docMk/>
            <pc:sldMk cId="659418568" sldId="2147310011"/>
            <ac:spMk id="72" creationId="{56E3CDC5-DB80-FFA1-9927-2DCE423D20E6}"/>
          </ac:spMkLst>
        </pc:spChg>
        <pc:spChg chg="mod">
          <ac:chgData name="Juan Enrique Córdova Woo" userId="48e678bc-df39-4a8a-a383-6b816eb75cf2" providerId="ADAL" clId="{7FD55559-C53A-4D8A-8383-7E5BD164E32D}" dt="2024-05-15T22:16:30.631" v="1523" actId="207"/>
          <ac:spMkLst>
            <pc:docMk/>
            <pc:sldMk cId="659418568" sldId="2147310011"/>
            <ac:spMk id="82" creationId="{9DA66A22-3529-8FEF-5426-9215D7B34A96}"/>
          </ac:spMkLst>
        </pc:spChg>
        <pc:spChg chg="del mod">
          <ac:chgData name="Juan Enrique Córdova Woo" userId="48e678bc-df39-4a8a-a383-6b816eb75cf2" providerId="ADAL" clId="{7FD55559-C53A-4D8A-8383-7E5BD164E32D}" dt="2024-05-14T20:51:20.289" v="793" actId="478"/>
          <ac:spMkLst>
            <pc:docMk/>
            <pc:sldMk cId="659418568" sldId="2147310011"/>
            <ac:spMk id="84" creationId="{347D0B40-3392-930E-7DBF-F067662C0920}"/>
          </ac:spMkLst>
        </pc:spChg>
        <pc:spChg chg="mod">
          <ac:chgData name="Juan Enrique Córdova Woo" userId="48e678bc-df39-4a8a-a383-6b816eb75cf2" providerId="ADAL" clId="{7FD55559-C53A-4D8A-8383-7E5BD164E32D}" dt="2024-05-14T20:53:20.177" v="892" actId="1036"/>
          <ac:spMkLst>
            <pc:docMk/>
            <pc:sldMk cId="659418568" sldId="2147310011"/>
            <ac:spMk id="85" creationId="{A190D0B4-92ED-1A31-8614-795A6D20A889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87" creationId="{B565D2E5-581F-DB11-AE84-8EF6D06094DA}"/>
          </ac:spMkLst>
        </pc:spChg>
        <pc:spChg chg="mod">
          <ac:chgData name="Juan Enrique Córdova Woo" userId="48e678bc-df39-4a8a-a383-6b816eb75cf2" providerId="ADAL" clId="{7FD55559-C53A-4D8A-8383-7E5BD164E32D}" dt="2024-05-14T20:46:41.144" v="592" actId="1036"/>
          <ac:spMkLst>
            <pc:docMk/>
            <pc:sldMk cId="659418568" sldId="2147310011"/>
            <ac:spMk id="89" creationId="{EC857750-AAEC-B371-0D41-2B19DAC5B150}"/>
          </ac:spMkLst>
        </pc:spChg>
        <pc:grpChg chg="add mod">
          <ac:chgData name="Juan Enrique Córdova Woo" userId="48e678bc-df39-4a8a-a383-6b816eb75cf2" providerId="ADAL" clId="{7FD55559-C53A-4D8A-8383-7E5BD164E32D}" dt="2024-05-14T20:52:43.785" v="869" actId="1035"/>
          <ac:grpSpMkLst>
            <pc:docMk/>
            <pc:sldMk cId="659418568" sldId="2147310011"/>
            <ac:grpSpMk id="15" creationId="{D64C4FA5-BF9B-4CB0-A633-7699FF995123}"/>
          </ac:grpSpMkLst>
        </pc:grpChg>
        <pc:graphicFrameChg chg="modGraphic">
          <ac:chgData name="Juan Enrique Córdova Woo" userId="48e678bc-df39-4a8a-a383-6b816eb75cf2" providerId="ADAL" clId="{7FD55559-C53A-4D8A-8383-7E5BD164E32D}" dt="2024-05-15T21:15:22.472" v="1439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Juan Enrique Córdova Woo" userId="48e678bc-df39-4a8a-a383-6b816eb75cf2" providerId="ADAL" clId="{7FD55559-C53A-4D8A-8383-7E5BD164E32D}" dt="2024-05-15T19:33:01.890" v="1420" actId="20577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picChg chg="add del mod">
          <ac:chgData name="Juan Enrique Córdova Woo" userId="48e678bc-df39-4a8a-a383-6b816eb75cf2" providerId="ADAL" clId="{7FD55559-C53A-4D8A-8383-7E5BD164E32D}" dt="2024-05-15T14:45:49.523" v="1340" actId="478"/>
          <ac:picMkLst>
            <pc:docMk/>
            <pc:sldMk cId="659418568" sldId="2147310011"/>
            <ac:picMk id="5" creationId="{93EB9C30-3F95-575B-6373-E21F2379B362}"/>
          </ac:picMkLst>
        </pc:picChg>
        <pc:picChg chg="add del mod">
          <ac:chgData name="Juan Enrique Córdova Woo" userId="48e678bc-df39-4a8a-a383-6b816eb75cf2" providerId="ADAL" clId="{7FD55559-C53A-4D8A-8383-7E5BD164E32D}" dt="2024-05-15T22:56:28.478" v="1525" actId="478"/>
          <ac:picMkLst>
            <pc:docMk/>
            <pc:sldMk cId="659418568" sldId="2147310011"/>
            <ac:picMk id="11" creationId="{29261998-194D-88C3-E689-1CFDED13443F}"/>
          </ac:picMkLst>
        </pc:picChg>
        <pc:cxnChg chg="mod">
          <ac:chgData name="Juan Enrique Córdova Woo" userId="48e678bc-df39-4a8a-a383-6b816eb75cf2" providerId="ADAL" clId="{7FD55559-C53A-4D8A-8383-7E5BD164E32D}" dt="2024-05-14T20:52:32.724" v="863"/>
          <ac:cxnSpMkLst>
            <pc:docMk/>
            <pc:sldMk cId="659418568" sldId="2147310011"/>
            <ac:cxnSpMk id="16" creationId="{AFEE31D4-7280-9913-37DC-281ECBFD7E52}"/>
          </ac:cxnSpMkLst>
        </pc:cxnChg>
        <pc:cxnChg chg="mod">
          <ac:chgData name="Juan Enrique Córdova Woo" userId="48e678bc-df39-4a8a-a383-6b816eb75cf2" providerId="ADAL" clId="{7FD55559-C53A-4D8A-8383-7E5BD164E32D}" dt="2024-05-14T20:52:32.724" v="863"/>
          <ac:cxnSpMkLst>
            <pc:docMk/>
            <pc:sldMk cId="659418568" sldId="2147310011"/>
            <ac:cxnSpMk id="17" creationId="{D7582822-B116-46FF-B503-D67AB692BB8D}"/>
          </ac:cxnSpMkLst>
        </pc:cxnChg>
        <pc:cxnChg chg="del">
          <ac:chgData name="Juan Enrique Córdova Woo" userId="48e678bc-df39-4a8a-a383-6b816eb75cf2" providerId="ADAL" clId="{7FD55559-C53A-4D8A-8383-7E5BD164E32D}" dt="2024-05-14T20:48:38.671" v="649" actId="478"/>
          <ac:cxnSpMkLst>
            <pc:docMk/>
            <pc:sldMk cId="659418568" sldId="2147310011"/>
            <ac:cxnSpMk id="75" creationId="{CBC30034-2494-EEE6-4941-D5E49EE45227}"/>
          </ac:cxnSpMkLst>
        </pc:cxnChg>
        <pc:cxnChg chg="del mod">
          <ac:chgData name="Juan Enrique Córdova Woo" userId="48e678bc-df39-4a8a-a383-6b816eb75cf2" providerId="ADAL" clId="{7FD55559-C53A-4D8A-8383-7E5BD164E32D}" dt="2024-05-14T20:52:27.508" v="862" actId="478"/>
          <ac:cxnSpMkLst>
            <pc:docMk/>
            <pc:sldMk cId="659418568" sldId="2147310011"/>
            <ac:cxnSpMk id="78" creationId="{D9E0C0DD-800B-A07C-18E6-602A6BF0049E}"/>
          </ac:cxnSpMkLst>
        </pc:cxnChg>
      </pc:sldChg>
      <pc:sldChg chg="addSp delSp modSp mod delAnim modAnim">
        <pc:chgData name="Juan Enrique Córdova Woo" userId="48e678bc-df39-4a8a-a383-6b816eb75cf2" providerId="ADAL" clId="{7FD55559-C53A-4D8A-8383-7E5BD164E32D}" dt="2024-05-16T16:38:36.746" v="1792" actId="20577"/>
        <pc:sldMkLst>
          <pc:docMk/>
          <pc:sldMk cId="1253964456" sldId="2147310012"/>
        </pc:sldMkLst>
        <pc:spChg chg="add mod">
          <ac:chgData name="Juan Enrique Córdova Woo" userId="48e678bc-df39-4a8a-a383-6b816eb75cf2" providerId="ADAL" clId="{7FD55559-C53A-4D8A-8383-7E5BD164E32D}" dt="2024-05-15T15:15:29.283" v="1396" actId="1076"/>
          <ac:spMkLst>
            <pc:docMk/>
            <pc:sldMk cId="1253964456" sldId="2147310012"/>
            <ac:spMk id="3" creationId="{0309D7BA-45C7-21A3-75AC-0B45EA0CF384}"/>
          </ac:spMkLst>
        </pc:spChg>
        <pc:spChg chg="mod">
          <ac:chgData name="Juan Enrique Córdova Woo" userId="48e678bc-df39-4a8a-a383-6b816eb75cf2" providerId="ADAL" clId="{7FD55559-C53A-4D8A-8383-7E5BD164E32D}" dt="2024-05-14T20:56:00.543" v="925" actId="1036"/>
          <ac:spMkLst>
            <pc:docMk/>
            <pc:sldMk cId="1253964456" sldId="2147310012"/>
            <ac:spMk id="4" creationId="{4CFB68E7-01DD-37B7-6A57-4F8E9D57FA4A}"/>
          </ac:spMkLst>
        </pc:spChg>
        <pc:spChg chg="mod">
          <ac:chgData name="Juan Enrique Córdova Woo" userId="48e678bc-df39-4a8a-a383-6b816eb75cf2" providerId="ADAL" clId="{7FD55559-C53A-4D8A-8383-7E5BD164E32D}" dt="2024-05-14T20:56:29.432" v="940" actId="207"/>
          <ac:spMkLst>
            <pc:docMk/>
            <pc:sldMk cId="1253964456" sldId="2147310012"/>
            <ac:spMk id="10" creationId="{69FB36FE-1D00-899A-FA20-C8453DA91FDE}"/>
          </ac:spMkLst>
        </pc:spChg>
        <pc:spChg chg="add del mod">
          <ac:chgData name="Juan Enrique Córdova Woo" userId="48e678bc-df39-4a8a-a383-6b816eb75cf2" providerId="ADAL" clId="{7FD55559-C53A-4D8A-8383-7E5BD164E32D}" dt="2024-05-14T21:01:08.839" v="1083" actId="478"/>
          <ac:spMkLst>
            <pc:docMk/>
            <pc:sldMk cId="1253964456" sldId="2147310012"/>
            <ac:spMk id="14" creationId="{BAAFC65C-D4DB-7868-09D6-2BDADB7D58F8}"/>
          </ac:spMkLst>
        </pc:spChg>
        <pc:spChg chg="add mod">
          <ac:chgData name="Juan Enrique Córdova Woo" userId="48e678bc-df39-4a8a-a383-6b816eb75cf2" providerId="ADAL" clId="{7FD55559-C53A-4D8A-8383-7E5BD164E32D}" dt="2024-05-14T21:01:33.942" v="1101" actId="1035"/>
          <ac:spMkLst>
            <pc:docMk/>
            <pc:sldMk cId="1253964456" sldId="2147310012"/>
            <ac:spMk id="15" creationId="{D73CFB90-4150-B4F8-851D-EC3B542C1969}"/>
          </ac:spMkLst>
        </pc:spChg>
        <pc:spChg chg="mod">
          <ac:chgData name="Juan Enrique Córdova Woo" userId="48e678bc-df39-4a8a-a383-6b816eb75cf2" providerId="ADAL" clId="{7FD55559-C53A-4D8A-8383-7E5BD164E32D}" dt="2024-05-14T20:56:53.979" v="942" actId="207"/>
          <ac:spMkLst>
            <pc:docMk/>
            <pc:sldMk cId="1253964456" sldId="2147310012"/>
            <ac:spMk id="19" creationId="{758D576D-F9E2-9621-8DEB-E1A178609AC3}"/>
          </ac:spMkLst>
        </pc:spChg>
        <pc:spChg chg="mod">
          <ac:chgData name="Juan Enrique Córdova Woo" userId="48e678bc-df39-4a8a-a383-6b816eb75cf2" providerId="ADAL" clId="{7FD55559-C53A-4D8A-8383-7E5BD164E32D}" dt="2024-05-14T20:56:15.867" v="938" actId="1036"/>
          <ac:spMkLst>
            <pc:docMk/>
            <pc:sldMk cId="1253964456" sldId="2147310012"/>
            <ac:spMk id="28" creationId="{71384855-0396-A9B4-27BE-26F7E46581BD}"/>
          </ac:spMkLst>
        </pc:spChg>
        <pc:spChg chg="mod">
          <ac:chgData name="Juan Enrique Córdova Woo" userId="48e678bc-df39-4a8a-a383-6b816eb75cf2" providerId="ADAL" clId="{7FD55559-C53A-4D8A-8383-7E5BD164E32D}" dt="2024-05-14T20:56:53.979" v="942" actId="207"/>
          <ac:spMkLst>
            <pc:docMk/>
            <pc:sldMk cId="1253964456" sldId="2147310012"/>
            <ac:spMk id="29" creationId="{6B3361AF-38C6-2BB3-EBD1-85509DB8CC4E}"/>
          </ac:spMkLst>
        </pc:spChg>
        <pc:spChg chg="mod">
          <ac:chgData name="Juan Enrique Córdova Woo" userId="48e678bc-df39-4a8a-a383-6b816eb75cf2" providerId="ADAL" clId="{7FD55559-C53A-4D8A-8383-7E5BD164E32D}" dt="2024-05-14T21:02:05.069" v="1106" actId="20577"/>
          <ac:spMkLst>
            <pc:docMk/>
            <pc:sldMk cId="1253964456" sldId="2147310012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D55559-C53A-4D8A-8383-7E5BD164E32D}" dt="2024-05-14T20:57:05.112" v="953" actId="1036"/>
          <ac:spMkLst>
            <pc:docMk/>
            <pc:sldMk cId="1253964456" sldId="2147310012"/>
            <ac:spMk id="53" creationId="{FA42AA40-A391-EC6A-40D7-8F46A9ED8DE4}"/>
          </ac:spMkLst>
        </pc:spChg>
        <pc:spChg chg="del">
          <ac:chgData name="Juan Enrique Córdova Woo" userId="48e678bc-df39-4a8a-a383-6b816eb75cf2" providerId="ADAL" clId="{7FD55559-C53A-4D8A-8383-7E5BD164E32D}" dt="2024-05-14T21:05:27.154" v="1125" actId="478"/>
          <ac:spMkLst>
            <pc:docMk/>
            <pc:sldMk cId="1253964456" sldId="2147310012"/>
            <ac:spMk id="60" creationId="{55B96CF4-057C-BAF4-D262-C61572D2E81A}"/>
          </ac:spMkLst>
        </pc:spChg>
        <pc:spChg chg="del">
          <ac:chgData name="Juan Enrique Córdova Woo" userId="48e678bc-df39-4a8a-a383-6b816eb75cf2" providerId="ADAL" clId="{7FD55559-C53A-4D8A-8383-7E5BD164E32D}" dt="2024-05-14T21:05:31.007" v="1126" actId="478"/>
          <ac:spMkLst>
            <pc:docMk/>
            <pc:sldMk cId="1253964456" sldId="2147310012"/>
            <ac:spMk id="72" creationId="{56E3CDC5-DB80-FFA1-9927-2DCE423D20E6}"/>
          </ac:spMkLst>
        </pc:spChg>
        <pc:spChg chg="mod">
          <ac:chgData name="Juan Enrique Córdova Woo" userId="48e678bc-df39-4a8a-a383-6b816eb75cf2" providerId="ADAL" clId="{7FD55559-C53A-4D8A-8383-7E5BD164E32D}" dt="2024-05-14T21:01:33.942" v="1101" actId="1035"/>
          <ac:spMkLst>
            <pc:docMk/>
            <pc:sldMk cId="1253964456" sldId="2147310012"/>
            <ac:spMk id="84" creationId="{347D0B40-3392-930E-7DBF-F067662C0920}"/>
          </ac:spMkLst>
        </pc:spChg>
        <pc:spChg chg="mod">
          <ac:chgData name="Juan Enrique Córdova Woo" userId="48e678bc-df39-4a8a-a383-6b816eb75cf2" providerId="ADAL" clId="{7FD55559-C53A-4D8A-8383-7E5BD164E32D}" dt="2024-05-14T21:01:33.942" v="1101" actId="1035"/>
          <ac:spMkLst>
            <pc:docMk/>
            <pc:sldMk cId="1253964456" sldId="2147310012"/>
            <ac:spMk id="85" creationId="{A190D0B4-92ED-1A31-8614-795A6D20A889}"/>
          </ac:spMkLst>
        </pc:spChg>
        <pc:graphicFrameChg chg="modGraphic">
          <ac:chgData name="Juan Enrique Córdova Woo" userId="48e678bc-df39-4a8a-a383-6b816eb75cf2" providerId="ADAL" clId="{7FD55559-C53A-4D8A-8383-7E5BD164E32D}" dt="2024-05-15T21:16:36.343" v="1444" actId="2057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6T16:38:36.746" v="1792" actId="20577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picChg chg="add del mod">
          <ac:chgData name="Juan Enrique Córdova Woo" userId="48e678bc-df39-4a8a-a383-6b816eb75cf2" providerId="ADAL" clId="{7FD55559-C53A-4D8A-8383-7E5BD164E32D}" dt="2024-05-15T14:46:40.403" v="1346" actId="478"/>
          <ac:picMkLst>
            <pc:docMk/>
            <pc:sldMk cId="1253964456" sldId="2147310012"/>
            <ac:picMk id="5" creationId="{20B9A52A-0E92-70C4-2648-24DE5F7FCE69}"/>
          </ac:picMkLst>
        </pc:picChg>
        <pc:cxnChg chg="mod">
          <ac:chgData name="Juan Enrique Córdova Woo" userId="48e678bc-df39-4a8a-a383-6b816eb75cf2" providerId="ADAL" clId="{7FD55559-C53A-4D8A-8383-7E5BD164E32D}" dt="2024-05-14T20:57:05.112" v="953" actId="1036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Juan Enrique Córdova Woo" userId="48e678bc-df39-4a8a-a383-6b816eb75cf2" providerId="ADAL" clId="{7FD55559-C53A-4D8A-8383-7E5BD164E32D}" dt="2024-05-14T20:57:05.112" v="953" actId="1036"/>
          <ac:cxnSpMkLst>
            <pc:docMk/>
            <pc:sldMk cId="1253964456" sldId="2147310012"/>
            <ac:cxnSpMk id="26" creationId="{BAFC660C-DB27-024A-8264-141ACA3FE584}"/>
          </ac:cxnSpMkLst>
        </pc:cxnChg>
      </pc:sldChg>
      <pc:sldChg chg="addSp delSp modSp mod addAnim delAnim modAnim">
        <pc:chgData name="Juan Enrique Córdova Woo" userId="48e678bc-df39-4a8a-a383-6b816eb75cf2" providerId="ADAL" clId="{7FD55559-C53A-4D8A-8383-7E5BD164E32D}" dt="2024-05-15T21:17:45.462" v="1450" actId="20577"/>
        <pc:sldMkLst>
          <pc:docMk/>
          <pc:sldMk cId="3220162634" sldId="2147310013"/>
        </pc:sldMkLst>
        <pc:spChg chg="add mod">
          <ac:chgData name="Juan Enrique Córdova Woo" userId="48e678bc-df39-4a8a-a383-6b816eb75cf2" providerId="ADAL" clId="{7FD55559-C53A-4D8A-8383-7E5BD164E32D}" dt="2024-05-15T15:15:51.828" v="1399" actId="555"/>
          <ac:spMkLst>
            <pc:docMk/>
            <pc:sldMk cId="3220162634" sldId="2147310013"/>
            <ac:spMk id="3" creationId="{BE48A060-9B2A-C471-2CEA-6EB7EC947F39}"/>
          </ac:spMkLst>
        </pc:spChg>
        <pc:spChg chg="add del mod">
          <ac:chgData name="Juan Enrique Córdova Woo" userId="48e678bc-df39-4a8a-a383-6b816eb75cf2" providerId="ADAL" clId="{7FD55559-C53A-4D8A-8383-7E5BD164E32D}" dt="2024-05-14T21:07:54.792" v="1230" actId="1036"/>
          <ac:spMkLst>
            <pc:docMk/>
            <pc:sldMk cId="3220162634" sldId="2147310013"/>
            <ac:spMk id="8" creationId="{796FAE6D-544B-0F2A-4D80-0D93C6DAC61E}"/>
          </ac:spMkLst>
        </pc:spChg>
        <pc:spChg chg="add del mod">
          <ac:chgData name="Juan Enrique Córdova Woo" userId="48e678bc-df39-4a8a-a383-6b816eb75cf2" providerId="ADAL" clId="{7FD55559-C53A-4D8A-8383-7E5BD164E32D}" dt="2024-05-14T21:08:41.554" v="1246" actId="478"/>
          <ac:spMkLst>
            <pc:docMk/>
            <pc:sldMk cId="3220162634" sldId="2147310013"/>
            <ac:spMk id="14" creationId="{875EAFB0-33FD-C666-EE78-40297A5277D0}"/>
          </ac:spMkLst>
        </pc:spChg>
        <pc:spChg chg="mod">
          <ac:chgData name="Juan Enrique Córdova Woo" userId="48e678bc-df39-4a8a-a383-6b816eb75cf2" providerId="ADAL" clId="{7FD55559-C53A-4D8A-8383-7E5BD164E32D}" dt="2024-05-14T21:02:37.848" v="1108" actId="207"/>
          <ac:spMkLst>
            <pc:docMk/>
            <pc:sldMk cId="3220162634" sldId="2147310013"/>
            <ac:spMk id="16" creationId="{6F37DDB0-9DF4-9B80-6878-B28A1F0EBCDF}"/>
          </ac:spMkLst>
        </pc:spChg>
        <pc:spChg chg="mod">
          <ac:chgData name="Juan Enrique Córdova Woo" userId="48e678bc-df39-4a8a-a383-6b816eb75cf2" providerId="ADAL" clId="{7FD55559-C53A-4D8A-8383-7E5BD164E32D}" dt="2024-05-14T21:02:48.471" v="1110" actId="207"/>
          <ac:spMkLst>
            <pc:docMk/>
            <pc:sldMk cId="3220162634" sldId="2147310013"/>
            <ac:spMk id="19" creationId="{555F3443-61F8-91D4-34FD-2C3A2C66E1A2}"/>
          </ac:spMkLst>
        </pc:spChg>
        <pc:spChg chg="mod">
          <ac:chgData name="Juan Enrique Córdova Woo" userId="48e678bc-df39-4a8a-a383-6b816eb75cf2" providerId="ADAL" clId="{7FD55559-C53A-4D8A-8383-7E5BD164E32D}" dt="2024-05-14T21:03:20.241" v="1113" actId="6549"/>
          <ac:spMkLst>
            <pc:docMk/>
            <pc:sldMk cId="3220162634" sldId="2147310013"/>
            <ac:spMk id="21" creationId="{1D59CAD0-FAC0-0B32-FD2A-220A16AB290B}"/>
          </ac:spMkLst>
        </pc:spChg>
        <pc:spChg chg="mod">
          <ac:chgData name="Juan Enrique Córdova Woo" userId="48e678bc-df39-4a8a-a383-6b816eb75cf2" providerId="ADAL" clId="{7FD55559-C53A-4D8A-8383-7E5BD164E32D}" dt="2024-05-15T15:15:51.828" v="1399" actId="555"/>
          <ac:spMkLst>
            <pc:docMk/>
            <pc:sldMk cId="3220162634" sldId="2147310013"/>
            <ac:spMk id="27" creationId="{34D23AD1-A144-6923-5142-C60D4FD2E070}"/>
          </ac:spMkLst>
        </pc:spChg>
        <pc:spChg chg="mod">
          <ac:chgData name="Juan Enrique Córdova Woo" userId="48e678bc-df39-4a8a-a383-6b816eb75cf2" providerId="ADAL" clId="{7FD55559-C53A-4D8A-8383-7E5BD164E32D}" dt="2024-05-14T21:02:48.471" v="1110" actId="207"/>
          <ac:spMkLst>
            <pc:docMk/>
            <pc:sldMk cId="3220162634" sldId="2147310013"/>
            <ac:spMk id="30" creationId="{1B3594EE-5C7D-88B2-19F1-0A643220AC5B}"/>
          </ac:spMkLst>
        </pc:spChg>
        <pc:spChg chg="mod">
          <ac:chgData name="Juan Enrique Córdova Woo" userId="48e678bc-df39-4a8a-a383-6b816eb75cf2" providerId="ADAL" clId="{7FD55559-C53A-4D8A-8383-7E5BD164E32D}" dt="2024-05-14T21:02:54.082" v="1112" actId="207"/>
          <ac:spMkLst>
            <pc:docMk/>
            <pc:sldMk cId="3220162634" sldId="2147310013"/>
            <ac:spMk id="48" creationId="{00F49C6B-A09B-C3C2-0CA5-E99B0BDAC31D}"/>
          </ac:spMkLst>
        </pc:spChg>
        <pc:spChg chg="mod">
          <ac:chgData name="Juan Enrique Córdova Woo" userId="48e678bc-df39-4a8a-a383-6b816eb75cf2" providerId="ADAL" clId="{7FD55559-C53A-4D8A-8383-7E5BD164E32D}" dt="2024-05-14T21:08:26.745" v="1245" actId="20577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7FD55559-C53A-4D8A-8383-7E5BD164E32D}" dt="2024-05-14T21:07:42.401" v="1219" actId="6549"/>
          <ac:spMkLst>
            <pc:docMk/>
            <pc:sldMk cId="3220162634" sldId="2147310013"/>
            <ac:spMk id="53" creationId="{FA42AA40-A391-EC6A-40D7-8F46A9ED8DE4}"/>
          </ac:spMkLst>
        </pc:spChg>
        <pc:spChg chg="mod">
          <ac:chgData name="Juan Enrique Córdova Woo" userId="48e678bc-df39-4a8a-a383-6b816eb75cf2" providerId="ADAL" clId="{7FD55559-C53A-4D8A-8383-7E5BD164E32D}" dt="2024-05-14T21:06:48.534" v="1185" actId="1035"/>
          <ac:spMkLst>
            <pc:docMk/>
            <pc:sldMk cId="3220162634" sldId="2147310013"/>
            <ac:spMk id="55" creationId="{72D4B0F3-8C67-0E29-74DD-A4B03B0101B3}"/>
          </ac:spMkLst>
        </pc:spChg>
        <pc:spChg chg="del">
          <ac:chgData name="Juan Enrique Córdova Woo" userId="48e678bc-df39-4a8a-a383-6b816eb75cf2" providerId="ADAL" clId="{7FD55559-C53A-4D8A-8383-7E5BD164E32D}" dt="2024-05-14T21:04:31.853" v="1119" actId="478"/>
          <ac:spMkLst>
            <pc:docMk/>
            <pc:sldMk cId="3220162634" sldId="2147310013"/>
            <ac:spMk id="60" creationId="{55B96CF4-057C-BAF4-D262-C61572D2E81A}"/>
          </ac:spMkLst>
        </pc:spChg>
        <pc:spChg chg="del">
          <ac:chgData name="Juan Enrique Córdova Woo" userId="48e678bc-df39-4a8a-a383-6b816eb75cf2" providerId="ADAL" clId="{7FD55559-C53A-4D8A-8383-7E5BD164E32D}" dt="2024-05-14T21:05:40.334" v="1127" actId="478"/>
          <ac:spMkLst>
            <pc:docMk/>
            <pc:sldMk cId="3220162634" sldId="2147310013"/>
            <ac:spMk id="72" creationId="{56E3CDC5-DB80-FFA1-9927-2DCE423D20E6}"/>
          </ac:spMkLst>
        </pc:spChg>
        <pc:spChg chg="add del mod">
          <ac:chgData name="Juan Enrique Córdova Woo" userId="48e678bc-df39-4a8a-a383-6b816eb75cf2" providerId="ADAL" clId="{7FD55559-C53A-4D8A-8383-7E5BD164E32D}" dt="2024-05-14T21:08:21.002" v="1242" actId="1035"/>
          <ac:spMkLst>
            <pc:docMk/>
            <pc:sldMk cId="3220162634" sldId="2147310013"/>
            <ac:spMk id="85" creationId="{A190D0B4-92ED-1A31-8614-795A6D20A889}"/>
          </ac:spMkLst>
        </pc:spChg>
        <pc:grpChg chg="add del mod">
          <ac:chgData name="Juan Enrique Córdova Woo" userId="48e678bc-df39-4a8a-a383-6b816eb75cf2" providerId="ADAL" clId="{7FD55559-C53A-4D8A-8383-7E5BD164E32D}" dt="2024-05-14T21:06:14.809" v="1146" actId="1036"/>
          <ac:grpSpMkLst>
            <pc:docMk/>
            <pc:sldMk cId="3220162634" sldId="2147310013"/>
            <ac:grpSpMk id="31" creationId="{1DB416D3-DF5E-D3DA-70A1-5AFA3C8D6B36}"/>
          </ac:grpSpMkLst>
        </pc:grpChg>
        <pc:graphicFrameChg chg="modGraphic">
          <ac:chgData name="Juan Enrique Córdova Woo" userId="48e678bc-df39-4a8a-a383-6b816eb75cf2" providerId="ADAL" clId="{7FD55559-C53A-4D8A-8383-7E5BD164E32D}" dt="2024-05-15T21:17:45.462" v="1450" actId="2057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cxnChg chg="mod">
          <ac:chgData name="Juan Enrique Córdova Woo" userId="48e678bc-df39-4a8a-a383-6b816eb75cf2" providerId="ADAL" clId="{7FD55559-C53A-4D8A-8383-7E5BD164E32D}" dt="2024-05-14T21:06:14.809" v="1146" actId="1036"/>
          <ac:cxnSpMkLst>
            <pc:docMk/>
            <pc:sldMk cId="3220162634" sldId="2147310013"/>
            <ac:cxnSpMk id="26" creationId="{E5E3E115-6167-D937-90F3-8C6C0A2B3840}"/>
          </ac:cxnSpMkLst>
        </pc:cxnChg>
      </pc:sldChg>
      <pc:sldChg chg="del">
        <pc:chgData name="Juan Enrique Córdova Woo" userId="48e678bc-df39-4a8a-a383-6b816eb75cf2" providerId="ADAL" clId="{7FD55559-C53A-4D8A-8383-7E5BD164E32D}" dt="2024-05-15T14:39:48.081" v="1324" actId="47"/>
        <pc:sldMkLst>
          <pc:docMk/>
          <pc:sldMk cId="2375878413" sldId="2147310015"/>
        </pc:sldMkLst>
      </pc:sldChg>
      <pc:sldChg chg="addSp delSp modSp mod">
        <pc:chgData name="Juan Enrique Córdova Woo" userId="48e678bc-df39-4a8a-a383-6b816eb75cf2" providerId="ADAL" clId="{7FD55559-C53A-4D8A-8383-7E5BD164E32D}" dt="2024-05-16T20:39:02.457" v="1795" actId="2085"/>
        <pc:sldMkLst>
          <pc:docMk/>
          <pc:sldMk cId="649892551" sldId="2147310016"/>
        </pc:sldMkLst>
        <pc:spChg chg="del">
          <ac:chgData name="Juan Enrique Córdova Woo" userId="48e678bc-df39-4a8a-a383-6b816eb75cf2" providerId="ADAL" clId="{7FD55559-C53A-4D8A-8383-7E5BD164E32D}" dt="2024-05-14T22:05:12.970" v="1247" actId="478"/>
          <ac:spMkLst>
            <pc:docMk/>
            <pc:sldMk cId="649892551" sldId="2147310016"/>
            <ac:spMk id="3" creationId="{5BB3F4C2-1214-E179-7087-38FF0E6EAB69}"/>
          </ac:spMkLst>
        </pc:spChg>
        <pc:spChg chg="add mod">
          <ac:chgData name="Juan Enrique Córdova Woo" userId="48e678bc-df39-4a8a-a383-6b816eb75cf2" providerId="ADAL" clId="{7FD55559-C53A-4D8A-8383-7E5BD164E32D}" dt="2024-05-16T13:40:14.433" v="1725"/>
          <ac:spMkLst>
            <pc:docMk/>
            <pc:sldMk cId="649892551" sldId="2147310016"/>
            <ac:spMk id="3" creationId="{F7604BD2-6F6E-AB13-72B2-49C43AE87223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4" creationId="{04E43BBB-EA3E-3DDB-703F-BAA56C74AD1D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7" creationId="{82F30E2E-4977-1265-1A3D-D94DC686357F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9" creationId="{4ED63805-5BE0-FEAD-D302-14D9EB1A0EAE}"/>
          </ac:spMkLst>
        </pc:spChg>
        <pc:spChg chg="mod">
          <ac:chgData name="Juan Enrique Córdova Woo" userId="48e678bc-df39-4a8a-a383-6b816eb75cf2" providerId="ADAL" clId="{7FD55559-C53A-4D8A-8383-7E5BD164E32D}" dt="2024-05-14T22:20:56.458" v="1306" actId="1036"/>
          <ac:spMkLst>
            <pc:docMk/>
            <pc:sldMk cId="649892551" sldId="2147310016"/>
            <ac:spMk id="10" creationId="{1F8C62CE-5585-2AAC-99BF-93AB8D7080A4}"/>
          </ac:spMkLst>
        </pc:spChg>
        <pc:spChg chg="mod">
          <ac:chgData name="Juan Enrique Córdova Woo" userId="48e678bc-df39-4a8a-a383-6b816eb75cf2" providerId="ADAL" clId="{7FD55559-C53A-4D8A-8383-7E5BD164E32D}" dt="2024-05-14T22:35:13.056" v="1323" actId="552"/>
          <ac:spMkLst>
            <pc:docMk/>
            <pc:sldMk cId="649892551" sldId="2147310016"/>
            <ac:spMk id="20" creationId="{AC6B803E-94E0-35E0-B51B-07C00C789ADB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21" creationId="{20AD9757-39DA-3B1C-AD63-40330654CD06}"/>
          </ac:spMkLst>
        </pc:spChg>
        <pc:spChg chg="mod">
          <ac:chgData name="Juan Enrique Córdova Woo" userId="48e678bc-df39-4a8a-a383-6b816eb75cf2" providerId="ADAL" clId="{7FD55559-C53A-4D8A-8383-7E5BD164E32D}" dt="2024-05-14T19:50:04.493" v="38" actId="552"/>
          <ac:spMkLst>
            <pc:docMk/>
            <pc:sldMk cId="649892551" sldId="2147310016"/>
            <ac:spMk id="22" creationId="{2CE931B5-3748-DDDE-60AA-2F9C04678BCA}"/>
          </ac:spMkLst>
        </pc:spChg>
        <pc:spChg chg="add mod">
          <ac:chgData name="Juan Enrique Córdova Woo" userId="48e678bc-df39-4a8a-a383-6b816eb75cf2" providerId="ADAL" clId="{7FD55559-C53A-4D8A-8383-7E5BD164E32D}" dt="2024-05-14T19:50:20.830" v="44" actId="1035"/>
          <ac:spMkLst>
            <pc:docMk/>
            <pc:sldMk cId="649892551" sldId="2147310016"/>
            <ac:spMk id="23" creationId="{DA8DED9F-196D-2B97-7FC0-B8775D127742}"/>
          </ac:spMkLst>
        </pc:spChg>
        <pc:spChg chg="del">
          <ac:chgData name="Juan Enrique Córdova Woo" userId="48e678bc-df39-4a8a-a383-6b816eb75cf2" providerId="ADAL" clId="{7FD55559-C53A-4D8A-8383-7E5BD164E32D}" dt="2024-05-14T19:49:52.808" v="37" actId="478"/>
          <ac:spMkLst>
            <pc:docMk/>
            <pc:sldMk cId="649892551" sldId="2147310016"/>
            <ac:spMk id="25" creationId="{07A8B325-215F-624E-DD6A-D6C50E0DD9DD}"/>
          </ac:spMkLst>
        </pc:spChg>
        <pc:spChg chg="mod">
          <ac:chgData name="Juan Enrique Córdova Woo" userId="48e678bc-df39-4a8a-a383-6b816eb75cf2" providerId="ADAL" clId="{7FD55559-C53A-4D8A-8383-7E5BD164E32D}" dt="2024-05-14T19:50:16.389" v="41" actId="552"/>
          <ac:spMkLst>
            <pc:docMk/>
            <pc:sldMk cId="649892551" sldId="2147310016"/>
            <ac:spMk id="26" creationId="{5382A627-FC6C-DA7C-9A6A-08AE68626876}"/>
          </ac:spMkLst>
        </pc:spChg>
        <pc:spChg chg="mod">
          <ac:chgData name="Juan Enrique Córdova Woo" userId="48e678bc-df39-4a8a-a383-6b816eb75cf2" providerId="ADAL" clId="{7FD55559-C53A-4D8A-8383-7E5BD164E32D}" dt="2024-05-14T22:17:31.964" v="1261" actId="2085"/>
          <ac:spMkLst>
            <pc:docMk/>
            <pc:sldMk cId="649892551" sldId="2147310016"/>
            <ac:spMk id="27" creationId="{58E23F92-9A62-D3A4-1FE2-3529B6DB7DBD}"/>
          </ac:spMkLst>
        </pc:spChg>
        <pc:spChg chg="mod">
          <ac:chgData name="Juan Enrique Córdova Woo" userId="48e678bc-df39-4a8a-a383-6b816eb75cf2" providerId="ADAL" clId="{7FD55559-C53A-4D8A-8383-7E5BD164E32D}" dt="2024-05-14T22:17:47.652" v="1266" actId="1036"/>
          <ac:spMkLst>
            <pc:docMk/>
            <pc:sldMk cId="649892551" sldId="2147310016"/>
            <ac:spMk id="28" creationId="{EA449AF5-028F-F2DA-6746-EA3415C9FB3E}"/>
          </ac:spMkLst>
        </pc:spChg>
        <pc:spChg chg="add mod">
          <ac:chgData name="Juan Enrique Córdova Woo" userId="48e678bc-df39-4a8a-a383-6b816eb75cf2" providerId="ADAL" clId="{7FD55559-C53A-4D8A-8383-7E5BD164E32D}" dt="2024-05-16T20:39:02.457" v="1795" actId="2085"/>
          <ac:spMkLst>
            <pc:docMk/>
            <pc:sldMk cId="649892551" sldId="2147310016"/>
            <ac:spMk id="29" creationId="{0DA9DC56-81B7-4999-CB65-AFB91031845A}"/>
          </ac:spMkLst>
        </pc:spChg>
        <pc:spChg chg="add mod">
          <ac:chgData name="Juan Enrique Córdova Woo" userId="48e678bc-df39-4a8a-a383-6b816eb75cf2" providerId="ADAL" clId="{7FD55559-C53A-4D8A-8383-7E5BD164E32D}" dt="2024-05-14T22:35:13.056" v="1323" actId="552"/>
          <ac:spMkLst>
            <pc:docMk/>
            <pc:sldMk cId="649892551" sldId="2147310016"/>
            <ac:spMk id="30" creationId="{464DA85C-B417-70D8-A89B-2B69AB01AAF1}"/>
          </ac:spMkLst>
        </pc:spChg>
        <pc:graphicFrameChg chg="modGraphic">
          <ac:chgData name="Juan Enrique Córdova Woo" userId="48e678bc-df39-4a8a-a383-6b816eb75cf2" providerId="ADAL" clId="{7FD55559-C53A-4D8A-8383-7E5BD164E32D}" dt="2024-05-14T22:35:01.720" v="1320" actId="6549"/>
          <ac:graphicFrameMkLst>
            <pc:docMk/>
            <pc:sldMk cId="649892551" sldId="2147310016"/>
            <ac:graphicFrameMk id="13" creationId="{BC0710D6-135E-EDE0-0A2D-C2D70100BF45}"/>
          </ac:graphicFrameMkLst>
        </pc:graphicFrameChg>
      </pc:sldChg>
      <pc:sldChg chg="modSp mod">
        <pc:chgData name="Juan Enrique Córdova Woo" userId="48e678bc-df39-4a8a-a383-6b816eb75cf2" providerId="ADAL" clId="{7FD55559-C53A-4D8A-8383-7E5BD164E32D}" dt="2024-05-16T16:14:31.612" v="1772" actId="207"/>
        <pc:sldMkLst>
          <pc:docMk/>
          <pc:sldMk cId="2084330027" sldId="2147310017"/>
        </pc:sldMkLst>
        <pc:spChg chg="mod">
          <ac:chgData name="Juan Enrique Córdova Woo" userId="48e678bc-df39-4a8a-a383-6b816eb75cf2" providerId="ADAL" clId="{7FD55559-C53A-4D8A-8383-7E5BD164E32D}" dt="2024-05-16T16:06:07.601" v="1749" actId="20577"/>
          <ac:spMkLst>
            <pc:docMk/>
            <pc:sldMk cId="2084330027" sldId="2147310017"/>
            <ac:spMk id="8" creationId="{5129EA4E-E527-9532-61E7-C3FF28C3F410}"/>
          </ac:spMkLst>
        </pc:spChg>
        <pc:graphicFrameChg chg="mod">
          <ac:chgData name="Juan Enrique Córdova Woo" userId="48e678bc-df39-4a8a-a383-6b816eb75cf2" providerId="ADAL" clId="{7FD55559-C53A-4D8A-8383-7E5BD164E32D}" dt="2024-05-16T16:14:17.832" v="1768" actId="207"/>
          <ac:graphicFrameMkLst>
            <pc:docMk/>
            <pc:sldMk cId="2084330027" sldId="2147310017"/>
            <ac:graphicFrameMk id="9" creationId="{EE848D58-61B2-4933-A7BB-DB60E392EA8D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6T16:14:21.630" v="1769" actId="207"/>
          <ac:graphicFrameMkLst>
            <pc:docMk/>
            <pc:sldMk cId="2084330027" sldId="2147310017"/>
            <ac:graphicFrameMk id="28" creationId="{4DC0704C-7EB4-4BF7-A0CF-FF0BBE31F4DD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6T16:14:25.194" v="1770" actId="207"/>
          <ac:graphicFrameMkLst>
            <pc:docMk/>
            <pc:sldMk cId="2084330027" sldId="2147310017"/>
            <ac:graphicFrameMk id="29" creationId="{C01F56F9-A316-448A-9A4A-BD0E8DE6E225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6T16:14:31.612" v="1772" actId="207"/>
          <ac:graphicFrameMkLst>
            <pc:docMk/>
            <pc:sldMk cId="2084330027" sldId="2147310017"/>
            <ac:graphicFrameMk id="30" creationId="{80518FF7-E91E-47DE-96AF-C763E7E0CF02}"/>
          </ac:graphicFrameMkLst>
        </pc:graphicFrameChg>
        <pc:graphicFrameChg chg="mod">
          <ac:chgData name="Juan Enrique Córdova Woo" userId="48e678bc-df39-4a8a-a383-6b816eb75cf2" providerId="ADAL" clId="{7FD55559-C53A-4D8A-8383-7E5BD164E32D}" dt="2024-05-16T16:14:28.459" v="1771" actId="207"/>
          <ac:graphicFrameMkLst>
            <pc:docMk/>
            <pc:sldMk cId="2084330027" sldId="2147310017"/>
            <ac:graphicFrameMk id="32" creationId="{77DE74BA-584F-402F-8D33-508233DC17CC}"/>
          </ac:graphicFrameMkLst>
        </pc:graphicFrameChg>
      </pc:sldChg>
      <pc:sldChg chg="addSp delSp modSp mod modAnim">
        <pc:chgData name="Juan Enrique Córdova Woo" userId="48e678bc-df39-4a8a-a383-6b816eb75cf2" providerId="ADAL" clId="{7FD55559-C53A-4D8A-8383-7E5BD164E32D}" dt="2024-05-15T17:31:21.643" v="1417"/>
        <pc:sldMkLst>
          <pc:docMk/>
          <pc:sldMk cId="3746985532" sldId="2147310020"/>
        </pc:sldMkLst>
        <pc:grpChg chg="add mod ord">
          <ac:chgData name="Juan Enrique Córdova Woo" userId="48e678bc-df39-4a8a-a383-6b816eb75cf2" providerId="ADAL" clId="{7FD55559-C53A-4D8A-8383-7E5BD164E32D}" dt="2024-05-15T17:30:06.470" v="1412" actId="167"/>
          <ac:grpSpMkLst>
            <pc:docMk/>
            <pc:sldMk cId="3746985532" sldId="2147310020"/>
            <ac:grpSpMk id="15" creationId="{61BDA774-B588-8949-4957-4D7CCE10703D}"/>
          </ac:grpSpMkLst>
        </pc:grpChg>
        <pc:grpChg chg="del">
          <ac:chgData name="Juan Enrique Córdova Woo" userId="48e678bc-df39-4a8a-a383-6b816eb75cf2" providerId="ADAL" clId="{7FD55559-C53A-4D8A-8383-7E5BD164E32D}" dt="2024-05-15T17:29:28.698" v="1400" actId="165"/>
          <ac:grpSpMkLst>
            <pc:docMk/>
            <pc:sldMk cId="3746985532" sldId="2147310020"/>
            <ac:grpSpMk id="48" creationId="{A8395C31-9AAF-B1E3-2638-6B6CA596B513}"/>
          </ac:grpSpMkLst>
        </pc:grpChg>
        <pc:picChg chg="add mod">
          <ac:chgData name="Juan Enrique Córdova Woo" userId="48e678bc-df39-4a8a-a383-6b816eb75cf2" providerId="ADAL" clId="{7FD55559-C53A-4D8A-8383-7E5BD164E32D}" dt="2024-05-15T17:30:02.178" v="1411" actId="164"/>
          <ac:picMkLst>
            <pc:docMk/>
            <pc:sldMk cId="3746985532" sldId="2147310020"/>
            <ac:picMk id="5" creationId="{EA7C015B-CF2E-FB0B-BDCB-C1F0A9E55E96}"/>
          </ac:picMkLst>
        </pc:picChg>
        <pc:picChg chg="mod topLvl">
          <ac:chgData name="Juan Enrique Córdova Woo" userId="48e678bc-df39-4a8a-a383-6b816eb75cf2" providerId="ADAL" clId="{7FD55559-C53A-4D8A-8383-7E5BD164E32D}" dt="2024-05-15T17:30:02.178" v="1411" actId="164"/>
          <ac:picMkLst>
            <pc:docMk/>
            <pc:sldMk cId="3746985532" sldId="2147310020"/>
            <ac:picMk id="45" creationId="{9FF40E62-FFAC-8704-9879-94CE85C92EF0}"/>
          </ac:picMkLst>
        </pc:picChg>
        <pc:picChg chg="del mod topLvl">
          <ac:chgData name="Juan Enrique Córdova Woo" userId="48e678bc-df39-4a8a-a383-6b816eb75cf2" providerId="ADAL" clId="{7FD55559-C53A-4D8A-8383-7E5BD164E32D}" dt="2024-05-15T17:29:31.747" v="1401" actId="478"/>
          <ac:picMkLst>
            <pc:docMk/>
            <pc:sldMk cId="3746985532" sldId="2147310020"/>
            <ac:picMk id="47" creationId="{37B02453-D7DE-6CEF-6623-7E924F30A61F}"/>
          </ac:picMkLst>
        </pc:picChg>
      </pc:sldChg>
      <pc:sldChg chg="del ord">
        <pc:chgData name="Juan Enrique Córdova Woo" userId="48e678bc-df39-4a8a-a383-6b816eb75cf2" providerId="ADAL" clId="{7FD55559-C53A-4D8A-8383-7E5BD164E32D}" dt="2024-05-15T22:16:43.653" v="1524" actId="47"/>
        <pc:sldMkLst>
          <pc:docMk/>
          <pc:sldMk cId="3518931128" sldId="2147310021"/>
        </pc:sldMkLst>
      </pc:sldChg>
      <pc:sldChg chg="addSp delSp modSp mod">
        <pc:chgData name="Juan Enrique Córdova Woo" userId="48e678bc-df39-4a8a-a383-6b816eb75cf2" providerId="ADAL" clId="{7FD55559-C53A-4D8A-8383-7E5BD164E32D}" dt="2024-05-15T22:13:58.864" v="1521" actId="20577"/>
        <pc:sldMkLst>
          <pc:docMk/>
          <pc:sldMk cId="151272569" sldId="2147310022"/>
        </pc:sldMkLst>
        <pc:spChg chg="add del mod">
          <ac:chgData name="Juan Enrique Córdova Woo" userId="48e678bc-df39-4a8a-a383-6b816eb75cf2" providerId="ADAL" clId="{7FD55559-C53A-4D8A-8383-7E5BD164E32D}" dt="2024-05-15T15:13:25.756" v="1389" actId="478"/>
          <ac:spMkLst>
            <pc:docMk/>
            <pc:sldMk cId="151272569" sldId="2147310022"/>
            <ac:spMk id="15" creationId="{63C492C1-3971-F95D-1775-C7253830743F}"/>
          </ac:spMkLst>
        </pc:spChg>
        <pc:spChg chg="mod">
          <ac:chgData name="Juan Enrique Córdova Woo" userId="48e678bc-df39-4a8a-a383-6b816eb75cf2" providerId="ADAL" clId="{7FD55559-C53A-4D8A-8383-7E5BD164E32D}" dt="2024-05-15T19:49:13.031" v="1424" actId="208"/>
          <ac:spMkLst>
            <pc:docMk/>
            <pc:sldMk cId="151272569" sldId="2147310022"/>
            <ac:spMk id="83" creationId="{BD8B9C89-37DB-EAA7-AD36-2B8F817CC88C}"/>
          </ac:spMkLst>
        </pc:spChg>
        <pc:graphicFrameChg chg="modGraphic">
          <ac:chgData name="Juan Enrique Córdova Woo" userId="48e678bc-df39-4a8a-a383-6b816eb75cf2" providerId="ADAL" clId="{7FD55559-C53A-4D8A-8383-7E5BD164E32D}" dt="2024-05-15T21:41:35.042" v="1475" actId="2057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14:59:16.669" v="1361" actId="20577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22:11:06.438" v="1515" actId="20577"/>
          <ac:graphicFrameMkLst>
            <pc:docMk/>
            <pc:sldMk cId="151272569" sldId="2147310022"/>
            <ac:graphicFrameMk id="53" creationId="{618955C3-E208-AFCE-12BC-3E76CA8E34B1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14:58:52.863" v="1355" actId="20577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graphicFrameChg chg="modGraphic">
          <ac:chgData name="Juan Enrique Córdova Woo" userId="48e678bc-df39-4a8a-a383-6b816eb75cf2" providerId="ADAL" clId="{7FD55559-C53A-4D8A-8383-7E5BD164E32D}" dt="2024-05-15T22:13:58.864" v="1521" actId="20577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  <pc:picChg chg="add del mod">
          <ac:chgData name="Juan Enrique Córdova Woo" userId="48e678bc-df39-4a8a-a383-6b816eb75cf2" providerId="ADAL" clId="{7FD55559-C53A-4D8A-8383-7E5BD164E32D}" dt="2024-05-15T14:59:19.354" v="1362" actId="478"/>
          <ac:picMkLst>
            <pc:docMk/>
            <pc:sldMk cId="151272569" sldId="2147310022"/>
            <ac:picMk id="10" creationId="{52230F05-444D-1176-547D-45BB716BC609}"/>
          </ac:picMkLst>
        </pc:picChg>
        <pc:picChg chg="add del mod">
          <ac:chgData name="Juan Enrique Córdova Woo" userId="48e678bc-df39-4a8a-a383-6b816eb75cf2" providerId="ADAL" clId="{7FD55559-C53A-4D8A-8383-7E5BD164E32D}" dt="2024-05-15T21:38:05.955" v="1457" actId="478"/>
          <ac:picMkLst>
            <pc:docMk/>
            <pc:sldMk cId="151272569" sldId="2147310022"/>
            <ac:picMk id="10" creationId="{73FAC256-0F9E-AE8C-AE36-78ABCA62F33D}"/>
          </ac:picMkLst>
        </pc:picChg>
        <pc:picChg chg="add del mod">
          <ac:chgData name="Juan Enrique Córdova Woo" userId="48e678bc-df39-4a8a-a383-6b816eb75cf2" providerId="ADAL" clId="{7FD55559-C53A-4D8A-8383-7E5BD164E32D}" dt="2024-05-15T22:09:52.063" v="1493" actId="478"/>
          <ac:picMkLst>
            <pc:docMk/>
            <pc:sldMk cId="151272569" sldId="2147310022"/>
            <ac:picMk id="11" creationId="{1A548F29-383E-ABCE-62BA-FFFD509F6F15}"/>
          </ac:picMkLst>
        </pc:picChg>
        <pc:picChg chg="add del mod">
          <ac:chgData name="Juan Enrique Córdova Woo" userId="48e678bc-df39-4a8a-a383-6b816eb75cf2" providerId="ADAL" clId="{7FD55559-C53A-4D8A-8383-7E5BD164E32D}" dt="2024-05-15T22:11:14.360" v="1516" actId="478"/>
          <ac:picMkLst>
            <pc:docMk/>
            <pc:sldMk cId="151272569" sldId="2147310022"/>
            <ac:picMk id="13" creationId="{3C2E9B07-A571-2B78-27D0-A9325AB67171}"/>
          </ac:picMkLst>
        </pc:picChg>
        <pc:picChg chg="add del mod">
          <ac:chgData name="Juan Enrique Córdova Woo" userId="48e678bc-df39-4a8a-a383-6b816eb75cf2" providerId="ADAL" clId="{7FD55559-C53A-4D8A-8383-7E5BD164E32D}" dt="2024-05-15T15:01:40.983" v="1367" actId="478"/>
          <ac:picMkLst>
            <pc:docMk/>
            <pc:sldMk cId="151272569" sldId="2147310022"/>
            <ac:picMk id="13" creationId="{7C148727-FB58-5381-CF38-75BA357CD914}"/>
          </ac:picMkLst>
        </pc:picChg>
      </pc:sldChg>
      <pc:sldChg chg="addSp modSp mod modShow">
        <pc:chgData name="Juan Enrique Córdova Woo" userId="48e678bc-df39-4a8a-a383-6b816eb75cf2" providerId="ADAL" clId="{7FD55559-C53A-4D8A-8383-7E5BD164E32D}" dt="2024-05-16T13:39:44.383" v="1722"/>
        <pc:sldMkLst>
          <pc:docMk/>
          <pc:sldMk cId="3772216284" sldId="2147310023"/>
        </pc:sldMkLst>
        <pc:spChg chg="add mod">
          <ac:chgData name="Juan Enrique Córdova Woo" userId="48e678bc-df39-4a8a-a383-6b816eb75cf2" providerId="ADAL" clId="{7FD55559-C53A-4D8A-8383-7E5BD164E32D}" dt="2024-05-16T13:39:44.383" v="1722"/>
          <ac:spMkLst>
            <pc:docMk/>
            <pc:sldMk cId="3772216284" sldId="2147310023"/>
            <ac:spMk id="4" creationId="{652E38E7-5C7E-D454-A48A-32180501D176}"/>
          </ac:spMkLst>
        </pc:spChg>
      </pc:sldChg>
      <pc:sldChg chg="addSp delSp modSp add mod modShow">
        <pc:chgData name="Juan Enrique Córdova Woo" userId="48e678bc-df39-4a8a-a383-6b816eb75cf2" providerId="ADAL" clId="{7FD55559-C53A-4D8A-8383-7E5BD164E32D}" dt="2024-05-16T13:39:55.743" v="1723"/>
        <pc:sldMkLst>
          <pc:docMk/>
          <pc:sldMk cId="2835517765" sldId="2147310024"/>
        </pc:sldMkLst>
        <pc:spChg chg="del">
          <ac:chgData name="Juan Enrique Córdova Woo" userId="48e678bc-df39-4a8a-a383-6b816eb75cf2" providerId="ADAL" clId="{7FD55559-C53A-4D8A-8383-7E5BD164E32D}" dt="2024-05-16T13:18:06.433" v="1600" actId="478"/>
          <ac:spMkLst>
            <pc:docMk/>
            <pc:sldMk cId="2835517765" sldId="2147310024"/>
            <ac:spMk id="5" creationId="{AEB2268A-FF5D-AB3A-5EC5-E400010B3A38}"/>
          </ac:spMkLst>
        </pc:spChg>
        <pc:spChg chg="add mod">
          <ac:chgData name="Juan Enrique Córdova Woo" userId="48e678bc-df39-4a8a-a383-6b816eb75cf2" providerId="ADAL" clId="{7FD55559-C53A-4D8A-8383-7E5BD164E32D}" dt="2024-05-16T13:18:40.609" v="1636" actId="20577"/>
          <ac:spMkLst>
            <pc:docMk/>
            <pc:sldMk cId="2835517765" sldId="2147310024"/>
            <ac:spMk id="7" creationId="{4FCA1F5B-1A07-BFAD-C485-5F2BB156FA3B}"/>
          </ac:spMkLst>
        </pc:spChg>
        <pc:spChg chg="add mod">
          <ac:chgData name="Juan Enrique Córdova Woo" userId="48e678bc-df39-4a8a-a383-6b816eb75cf2" providerId="ADAL" clId="{7FD55559-C53A-4D8A-8383-7E5BD164E32D}" dt="2024-05-16T13:39:55.743" v="1723"/>
          <ac:spMkLst>
            <pc:docMk/>
            <pc:sldMk cId="2835517765" sldId="2147310024"/>
            <ac:spMk id="9" creationId="{D6C8FE01-4DF4-A166-3596-1785CF48D35D}"/>
          </ac:spMkLst>
        </pc:spChg>
        <pc:spChg chg="del mod ord">
          <ac:chgData name="Juan Enrique Córdova Woo" userId="48e678bc-df39-4a8a-a383-6b816eb75cf2" providerId="ADAL" clId="{7FD55559-C53A-4D8A-8383-7E5BD164E32D}" dt="2024-05-16T13:18:04.690" v="1599" actId="21"/>
          <ac:spMkLst>
            <pc:docMk/>
            <pc:sldMk cId="2835517765" sldId="2147310024"/>
            <ac:spMk id="11" creationId="{0FA3F142-40A5-149A-EFA0-D68F2A7B17C4}"/>
          </ac:spMkLst>
        </pc:spChg>
        <pc:spChg chg="del">
          <ac:chgData name="Juan Enrique Córdova Woo" userId="48e678bc-df39-4a8a-a383-6b816eb75cf2" providerId="ADAL" clId="{7FD55559-C53A-4D8A-8383-7E5BD164E32D}" dt="2024-05-16T13:17:43.141" v="1593" actId="478"/>
          <ac:spMkLst>
            <pc:docMk/>
            <pc:sldMk cId="2835517765" sldId="2147310024"/>
            <ac:spMk id="12" creationId="{956CA75A-A793-4117-D61C-FD6F0C9400E9}"/>
          </ac:spMkLst>
        </pc:spChg>
        <pc:spChg chg="del">
          <ac:chgData name="Juan Enrique Córdova Woo" userId="48e678bc-df39-4a8a-a383-6b816eb75cf2" providerId="ADAL" clId="{7FD55559-C53A-4D8A-8383-7E5BD164E32D}" dt="2024-05-16T13:17:41.678" v="1592" actId="478"/>
          <ac:spMkLst>
            <pc:docMk/>
            <pc:sldMk cId="2835517765" sldId="2147310024"/>
            <ac:spMk id="14" creationId="{AFB61B9C-09BF-1470-DD96-E4780C1E17FA}"/>
          </ac:spMkLst>
        </pc:spChg>
        <pc:spChg chg="del">
          <ac:chgData name="Juan Enrique Córdova Woo" userId="48e678bc-df39-4a8a-a383-6b816eb75cf2" providerId="ADAL" clId="{7FD55559-C53A-4D8A-8383-7E5BD164E32D}" dt="2024-05-16T13:17:46.091" v="1595" actId="478"/>
          <ac:spMkLst>
            <pc:docMk/>
            <pc:sldMk cId="2835517765" sldId="2147310024"/>
            <ac:spMk id="15" creationId="{5B4BB437-F9AF-F55B-3176-8018EA7C9534}"/>
          </ac:spMkLst>
        </pc:spChg>
        <pc:spChg chg="del">
          <ac:chgData name="Juan Enrique Córdova Woo" userId="48e678bc-df39-4a8a-a383-6b816eb75cf2" providerId="ADAL" clId="{7FD55559-C53A-4D8A-8383-7E5BD164E32D}" dt="2024-05-16T13:17:49.934" v="1597" actId="478"/>
          <ac:spMkLst>
            <pc:docMk/>
            <pc:sldMk cId="2835517765" sldId="2147310024"/>
            <ac:spMk id="16" creationId="{178D9C94-49E7-5487-BF04-FA8087FB8AAA}"/>
          </ac:spMkLst>
        </pc:spChg>
        <pc:spChg chg="del">
          <ac:chgData name="Juan Enrique Córdova Woo" userId="48e678bc-df39-4a8a-a383-6b816eb75cf2" providerId="ADAL" clId="{7FD55559-C53A-4D8A-8383-7E5BD164E32D}" dt="2024-05-16T13:17:44.358" v="1594" actId="478"/>
          <ac:spMkLst>
            <pc:docMk/>
            <pc:sldMk cId="2835517765" sldId="2147310024"/>
            <ac:spMk id="17" creationId="{EE5BAF0D-D7BA-5C19-F0BD-22F678954562}"/>
          </ac:spMkLst>
        </pc:spChg>
        <pc:spChg chg="del">
          <ac:chgData name="Juan Enrique Córdova Woo" userId="48e678bc-df39-4a8a-a383-6b816eb75cf2" providerId="ADAL" clId="{7FD55559-C53A-4D8A-8383-7E5BD164E32D}" dt="2024-05-16T13:17:39.443" v="1591" actId="478"/>
          <ac:spMkLst>
            <pc:docMk/>
            <pc:sldMk cId="2835517765" sldId="2147310024"/>
            <ac:spMk id="18" creationId="{615BE560-1241-148B-19F5-641757C8A875}"/>
          </ac:spMkLst>
        </pc:spChg>
        <pc:spChg chg="del">
          <ac:chgData name="Juan Enrique Córdova Woo" userId="48e678bc-df39-4a8a-a383-6b816eb75cf2" providerId="ADAL" clId="{7FD55559-C53A-4D8A-8383-7E5BD164E32D}" dt="2024-05-16T13:17:48.192" v="1596" actId="478"/>
          <ac:spMkLst>
            <pc:docMk/>
            <pc:sldMk cId="2835517765" sldId="2147310024"/>
            <ac:spMk id="19" creationId="{D3B4808C-38CD-12B9-6E56-C3185D901CE7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23" creationId="{DA8DED9F-196D-2B97-7FC0-B8775D127742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5" creationId="{9E42AC9D-29FE-1754-F645-744932110CDA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6" creationId="{6A424463-CECE-B37B-2FFD-0B23118173DB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7" creationId="{6A130874-A72A-1D1B-57C2-E9C52F2A8246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8" creationId="{5A1F96E1-EC0F-1581-7748-395B7F506362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39" creationId="{35F75314-1C90-F23A-E96F-531C816610F4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0" creationId="{3123BCAE-7F92-3D5E-E29C-1E094246AE1A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1" creationId="{08667471-1BE0-5A71-8936-5D237D98C2BF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2" creationId="{E7D3F981-03C9-639F-2A22-4BC337BCE00E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3" creationId="{5FA5B37C-48DF-D849-870D-DF3D1AE03DF8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4" creationId="{AF7628A0-0D37-6691-66A1-1599CA3055E4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5" creationId="{8C54FB6E-EF03-2DE4-8F98-4791E1E4D1B2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6" creationId="{4F601CBA-190E-542C-E096-5BAC609D98BA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7" creationId="{A98736AE-D9DF-7029-7FDE-4B24882AA0D4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8" creationId="{DFEB877A-DB87-F7AA-710B-C5BF1E732C37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49" creationId="{8F04C817-D971-84FD-4403-5DB4F2986CE5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0" creationId="{7871D6BB-9FD2-2CA4-9031-AF7CC0330CAE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1" creationId="{1A69F1D4-6244-CDEB-FC01-3BBEA9C8E742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2" creationId="{5892E663-9BB1-4FE7-8FB0-57A4734E96FB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3" creationId="{83E9A641-C222-C462-9A2D-CD47705DFD8B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4" creationId="{C5300AF6-B4A2-5850-B9D9-F6CFA3083AF5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5" creationId="{168E355C-1B33-5B5F-230A-471DAA493A94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6" creationId="{CDAF9A90-6755-D5C3-8AD5-5528873EAC88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57" creationId="{3497D0FD-89E9-5CA3-DE73-23309F0448F9}"/>
          </ac:spMkLst>
        </pc:spChg>
        <pc:spChg chg="del">
          <ac:chgData name="Juan Enrique Córdova Woo" userId="48e678bc-df39-4a8a-a383-6b816eb75cf2" providerId="ADAL" clId="{7FD55559-C53A-4D8A-8383-7E5BD164E32D}" dt="2024-05-16T13:16:07.518" v="1587" actId="478"/>
          <ac:spMkLst>
            <pc:docMk/>
            <pc:sldMk cId="2835517765" sldId="2147310024"/>
            <ac:spMk id="58" creationId="{F7E67AD8-3860-BD57-3587-37074E2F73D1}"/>
          </ac:spMkLst>
        </pc:spChg>
        <pc:spChg chg="del">
          <ac:chgData name="Juan Enrique Córdova Woo" userId="48e678bc-df39-4a8a-a383-6b816eb75cf2" providerId="ADAL" clId="{7FD55559-C53A-4D8A-8383-7E5BD164E32D}" dt="2024-05-16T13:16:07.518" v="1587" actId="478"/>
          <ac:spMkLst>
            <pc:docMk/>
            <pc:sldMk cId="2835517765" sldId="2147310024"/>
            <ac:spMk id="59" creationId="{DBFE98E2-3CE1-0960-3883-BD7CBCD78B1C}"/>
          </ac:spMkLst>
        </pc:spChg>
        <pc:spChg chg="del">
          <ac:chgData name="Juan Enrique Córdova Woo" userId="48e678bc-df39-4a8a-a383-6b816eb75cf2" providerId="ADAL" clId="{7FD55559-C53A-4D8A-8383-7E5BD164E32D}" dt="2024-05-16T13:16:07.518" v="1587" actId="478"/>
          <ac:spMkLst>
            <pc:docMk/>
            <pc:sldMk cId="2835517765" sldId="2147310024"/>
            <ac:spMk id="60" creationId="{90AF64C6-C90A-32C6-21EE-7512B6911AFA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61" creationId="{A273CC35-64FF-C0D3-FBCD-EC2DBABB35CE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62" creationId="{FCBB9158-F81E-BFFF-8B06-A8E57F30B9D3}"/>
          </ac:spMkLst>
        </pc:spChg>
        <pc:spChg chg="del">
          <ac:chgData name="Juan Enrique Córdova Woo" userId="48e678bc-df39-4a8a-a383-6b816eb75cf2" providerId="ADAL" clId="{7FD55559-C53A-4D8A-8383-7E5BD164E32D}" dt="2024-05-16T13:16:02.884" v="1585" actId="478"/>
          <ac:spMkLst>
            <pc:docMk/>
            <pc:sldMk cId="2835517765" sldId="2147310024"/>
            <ac:spMk id="63" creationId="{70099065-DEEE-6263-B829-A1915A236BDE}"/>
          </ac:spMkLst>
        </pc:spChg>
        <pc:graphicFrameChg chg="del">
          <ac:chgData name="Juan Enrique Córdova Woo" userId="48e678bc-df39-4a8a-a383-6b816eb75cf2" providerId="ADAL" clId="{7FD55559-C53A-4D8A-8383-7E5BD164E32D}" dt="2024-05-16T13:15:59.145" v="1584" actId="478"/>
          <ac:graphicFrameMkLst>
            <pc:docMk/>
            <pc:sldMk cId="2835517765" sldId="2147310024"/>
            <ac:graphicFrameMk id="31" creationId="{C290A6DF-541E-00AC-D43F-B2CBD417EE2F}"/>
          </ac:graphicFrameMkLst>
        </pc:graphicFrameChg>
        <pc:picChg chg="del">
          <ac:chgData name="Juan Enrique Córdova Woo" userId="48e678bc-df39-4a8a-a383-6b816eb75cf2" providerId="ADAL" clId="{7FD55559-C53A-4D8A-8383-7E5BD164E32D}" dt="2024-05-16T13:16:05.145" v="1586" actId="478"/>
          <ac:picMkLst>
            <pc:docMk/>
            <pc:sldMk cId="2835517765" sldId="2147310024"/>
            <ac:picMk id="3" creationId="{0B380A58-E40E-6FEB-CE0B-4E99B2D34CA5}"/>
          </ac:picMkLst>
        </pc:picChg>
        <pc:picChg chg="add mod">
          <ac:chgData name="Juan Enrique Córdova Woo" userId="48e678bc-df39-4a8a-a383-6b816eb75cf2" providerId="ADAL" clId="{7FD55559-C53A-4D8A-8383-7E5BD164E32D}" dt="2024-05-16T13:19:31.652" v="1641" actId="14100"/>
          <ac:picMkLst>
            <pc:docMk/>
            <pc:sldMk cId="2835517765" sldId="2147310024"/>
            <ac:picMk id="6" creationId="{CA4CF5F3-9E51-D1B5-125F-CF6EE5884C5A}"/>
          </ac:picMkLst>
        </pc:picChg>
        <pc:picChg chg="del">
          <ac:chgData name="Juan Enrique Córdova Woo" userId="48e678bc-df39-4a8a-a383-6b816eb75cf2" providerId="ADAL" clId="{7FD55559-C53A-4D8A-8383-7E5BD164E32D}" dt="2024-05-16T13:15:59.145" v="1584" actId="478"/>
          <ac:picMkLst>
            <pc:docMk/>
            <pc:sldMk cId="2835517765" sldId="2147310024"/>
            <ac:picMk id="34" creationId="{A79D59EB-F713-7D49-ED5C-74BF203C2378}"/>
          </ac:picMkLst>
        </pc:picChg>
      </pc:sldChg>
      <pc:sldChg chg="addSp delSp modSp add mod modShow">
        <pc:chgData name="Juan Enrique Córdova Woo" userId="48e678bc-df39-4a8a-a383-6b816eb75cf2" providerId="ADAL" clId="{7FD55559-C53A-4D8A-8383-7E5BD164E32D}" dt="2024-05-16T13:40:06.928" v="1724"/>
        <pc:sldMkLst>
          <pc:docMk/>
          <pc:sldMk cId="1529433587" sldId="2147310025"/>
        </pc:sldMkLst>
        <pc:spChg chg="add mod">
          <ac:chgData name="Juan Enrique Córdova Woo" userId="48e678bc-df39-4a8a-a383-6b816eb75cf2" providerId="ADAL" clId="{7FD55559-C53A-4D8A-8383-7E5BD164E32D}" dt="2024-05-16T13:40:06.928" v="1724"/>
          <ac:spMkLst>
            <pc:docMk/>
            <pc:sldMk cId="1529433587" sldId="2147310025"/>
            <ac:spMk id="5" creationId="{A912E203-9DCD-AA14-CEE5-74B124D75D1D}"/>
          </ac:spMkLst>
        </pc:spChg>
        <pc:picChg chg="add mod">
          <ac:chgData name="Juan Enrique Córdova Woo" userId="48e678bc-df39-4a8a-a383-6b816eb75cf2" providerId="ADAL" clId="{7FD55559-C53A-4D8A-8383-7E5BD164E32D}" dt="2024-05-16T13:20:32.649" v="1667" actId="1036"/>
          <ac:picMkLst>
            <pc:docMk/>
            <pc:sldMk cId="1529433587" sldId="2147310025"/>
            <ac:picMk id="4" creationId="{6438C750-6883-5F72-A041-D3E060B862EF}"/>
          </ac:picMkLst>
        </pc:picChg>
        <pc:picChg chg="del">
          <ac:chgData name="Juan Enrique Córdova Woo" userId="48e678bc-df39-4a8a-a383-6b816eb75cf2" providerId="ADAL" clId="{7FD55559-C53A-4D8A-8383-7E5BD164E32D}" dt="2024-05-16T13:19:41.160" v="1643" actId="478"/>
          <ac:picMkLst>
            <pc:docMk/>
            <pc:sldMk cId="1529433587" sldId="2147310025"/>
            <ac:picMk id="6" creationId="{CA4CF5F3-9E51-D1B5-125F-CF6EE5884C5A}"/>
          </ac:picMkLst>
        </pc:picChg>
      </pc:sldChg>
    </pc:docChg>
  </pc:docChgLst>
  <pc:docChgLst>
    <pc:chgData name="Juan Enrique Córdova Woo" userId="48e678bc-df39-4a8a-a383-6b816eb75cf2" providerId="ADAL" clId="{AB417051-4E1B-4F99-90F7-7C35098E71C9}"/>
    <pc:docChg chg="undo custSel modSld">
      <pc:chgData name="Juan Enrique Córdova Woo" userId="48e678bc-df39-4a8a-a383-6b816eb75cf2" providerId="ADAL" clId="{AB417051-4E1B-4F99-90F7-7C35098E71C9}" dt="2024-09-18T22:11:54.116" v="1764" actId="478"/>
      <pc:docMkLst>
        <pc:docMk/>
      </pc:docMkLst>
      <pc:sldChg chg="addSp delSp modSp mod addAnim delAnim">
        <pc:chgData name="Juan Enrique Córdova Woo" userId="48e678bc-df39-4a8a-a383-6b816eb75cf2" providerId="ADAL" clId="{AB417051-4E1B-4F99-90F7-7C35098E71C9}" dt="2024-09-18T22:11:54.116" v="1764" actId="478"/>
        <pc:sldMkLst>
          <pc:docMk/>
          <pc:sldMk cId="151272569" sldId="2147310022"/>
        </pc:sldMkLst>
        <pc:graphicFrameChg chg="modGraphic">
          <ac:chgData name="Juan Enrique Córdova Woo" userId="48e678bc-df39-4a8a-a383-6b816eb75cf2" providerId="ADAL" clId="{AB417051-4E1B-4F99-90F7-7C35098E71C9}" dt="2024-09-18T22:11:52.967" v="1763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Juan Enrique Córdova Woo" userId="48e678bc-df39-4a8a-a383-6b816eb75cf2" providerId="ADAL" clId="{AB417051-4E1B-4F99-90F7-7C35098E71C9}" dt="2024-09-18T22:10:30.187" v="1744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picChg chg="add del mod">
          <ac:chgData name="Juan Enrique Córdova Woo" userId="48e678bc-df39-4a8a-a383-6b816eb75cf2" providerId="ADAL" clId="{AB417051-4E1B-4F99-90F7-7C35098E71C9}" dt="2024-09-18T22:11:54.116" v="1764" actId="478"/>
          <ac:picMkLst>
            <pc:docMk/>
            <pc:sldMk cId="151272569" sldId="2147310022"/>
            <ac:picMk id="10" creationId="{5CF7A404-CD51-EE95-360D-7B4D70C1EEF1}"/>
          </ac:picMkLst>
        </pc:picChg>
      </pc:sldChg>
      <pc:sldChg chg="addSp delSp modSp mod">
        <pc:chgData name="Juan Enrique Córdova Woo" userId="48e678bc-df39-4a8a-a383-6b816eb75cf2" providerId="ADAL" clId="{AB417051-4E1B-4F99-90F7-7C35098E71C9}" dt="2024-09-18T14:00:52.856" v="1709" actId="6549"/>
        <pc:sldMkLst>
          <pc:docMk/>
          <pc:sldMk cId="3233114531" sldId="2147310033"/>
        </pc:sldMkLst>
        <pc:spChg chg="mod">
          <ac:chgData name="Juan Enrique Córdova Woo" userId="48e678bc-df39-4a8a-a383-6b816eb75cf2" providerId="ADAL" clId="{AB417051-4E1B-4F99-90F7-7C35098E71C9}" dt="2024-09-18T13:11:02.039" v="401" actId="20577"/>
          <ac:spMkLst>
            <pc:docMk/>
            <pc:sldMk cId="3233114531" sldId="2147310033"/>
            <ac:spMk id="2" creationId="{E83288CF-5062-BB5D-A0B7-996551EEB19C}"/>
          </ac:spMkLst>
        </pc:spChg>
        <pc:spChg chg="mod">
          <ac:chgData name="Juan Enrique Córdova Woo" userId="48e678bc-df39-4a8a-a383-6b816eb75cf2" providerId="ADAL" clId="{AB417051-4E1B-4F99-90F7-7C35098E71C9}" dt="2024-09-18T14:00:52.856" v="1709" actId="6549"/>
          <ac:spMkLst>
            <pc:docMk/>
            <pc:sldMk cId="3233114531" sldId="2147310033"/>
            <ac:spMk id="7" creationId="{5010A3BD-22D1-216A-211E-F8622B62A2E1}"/>
          </ac:spMkLst>
        </pc:spChg>
        <pc:spChg chg="add del mod">
          <ac:chgData name="Juan Enrique Córdova Woo" userId="48e678bc-df39-4a8a-a383-6b816eb75cf2" providerId="ADAL" clId="{AB417051-4E1B-4F99-90F7-7C35098E71C9}" dt="2024-09-18T13:34:37.107" v="1256" actId="478"/>
          <ac:spMkLst>
            <pc:docMk/>
            <pc:sldMk cId="3233114531" sldId="2147310033"/>
            <ac:spMk id="8" creationId="{60868382-8616-DD85-9C69-901B85F0DCD8}"/>
          </ac:spMkLst>
        </pc:spChg>
        <pc:spChg chg="add del mod">
          <ac:chgData name="Juan Enrique Córdova Woo" userId="48e678bc-df39-4a8a-a383-6b816eb75cf2" providerId="ADAL" clId="{AB417051-4E1B-4F99-90F7-7C35098E71C9}" dt="2024-09-18T13:36:55.134" v="1290" actId="478"/>
          <ac:spMkLst>
            <pc:docMk/>
            <pc:sldMk cId="3233114531" sldId="2147310033"/>
            <ac:spMk id="9" creationId="{11C5702F-5D7C-4A52-31D7-58FA993F2D2E}"/>
          </ac:spMkLst>
        </pc:spChg>
        <pc:spChg chg="add mod">
          <ac:chgData name="Juan Enrique Córdova Woo" userId="48e678bc-df39-4a8a-a383-6b816eb75cf2" providerId="ADAL" clId="{AB417051-4E1B-4F99-90F7-7C35098E71C9}" dt="2024-09-18T13:36:47.665" v="1289" actId="1076"/>
          <ac:spMkLst>
            <pc:docMk/>
            <pc:sldMk cId="3233114531" sldId="2147310033"/>
            <ac:spMk id="10" creationId="{A4A4ADC5-E58B-15BB-18B7-DD35C603AF87}"/>
          </ac:spMkLst>
        </pc:spChg>
        <pc:spChg chg="mod">
          <ac:chgData name="Juan Enrique Córdova Woo" userId="48e678bc-df39-4a8a-a383-6b816eb75cf2" providerId="ADAL" clId="{AB417051-4E1B-4F99-90F7-7C35098E71C9}" dt="2024-09-18T13:49:51.128" v="1697" actId="20577"/>
          <ac:spMkLst>
            <pc:docMk/>
            <pc:sldMk cId="3233114531" sldId="2147310033"/>
            <ac:spMk id="11" creationId="{08632B0B-F4B8-02BB-7B68-6F6E69A19D0E}"/>
          </ac:spMkLst>
        </pc:spChg>
        <pc:spChg chg="mod">
          <ac:chgData name="Juan Enrique Córdova Woo" userId="48e678bc-df39-4a8a-a383-6b816eb75cf2" providerId="ADAL" clId="{AB417051-4E1B-4F99-90F7-7C35098E71C9}" dt="2024-09-18T13:31:32.962" v="1132" actId="20577"/>
          <ac:spMkLst>
            <pc:docMk/>
            <pc:sldMk cId="3233114531" sldId="2147310033"/>
            <ac:spMk id="16" creationId="{B2289561-5EFA-D612-4C29-F010BA1867CB}"/>
          </ac:spMkLst>
        </pc:spChg>
        <pc:spChg chg="mod">
          <ac:chgData name="Juan Enrique Córdova Woo" userId="48e678bc-df39-4a8a-a383-6b816eb75cf2" providerId="ADAL" clId="{AB417051-4E1B-4F99-90F7-7C35098E71C9}" dt="2024-09-18T13:36:44.350" v="1287" actId="1076"/>
          <ac:spMkLst>
            <pc:docMk/>
            <pc:sldMk cId="3233114531" sldId="2147310033"/>
            <ac:spMk id="24" creationId="{DFCC3D01-369E-318F-5428-C27AB5866B7D}"/>
          </ac:spMkLst>
        </pc:spChg>
        <pc:picChg chg="add del mod">
          <ac:chgData name="Juan Enrique Córdova Woo" userId="48e678bc-df39-4a8a-a383-6b816eb75cf2" providerId="ADAL" clId="{AB417051-4E1B-4F99-90F7-7C35098E71C9}" dt="2024-09-18T13:33:50.074" v="1252" actId="478"/>
          <ac:picMkLst>
            <pc:docMk/>
            <pc:sldMk cId="3233114531" sldId="2147310033"/>
            <ac:picMk id="6" creationId="{5564E408-F3C5-55A1-79DE-86C7A597D319}"/>
          </ac:picMkLst>
        </pc:picChg>
        <pc:picChg chg="add mod">
          <ac:chgData name="Juan Enrique Córdova Woo" userId="48e678bc-df39-4a8a-a383-6b816eb75cf2" providerId="ADAL" clId="{AB417051-4E1B-4F99-90F7-7C35098E71C9}" dt="2024-09-18T13:48:58.866" v="1672" actId="553"/>
          <ac:picMkLst>
            <pc:docMk/>
            <pc:sldMk cId="3233114531" sldId="2147310033"/>
            <ac:picMk id="12" creationId="{4AA2B049-AC44-D68C-D74D-301206C72405}"/>
          </ac:picMkLst>
        </pc:picChg>
        <pc:picChg chg="mod">
          <ac:chgData name="Juan Enrique Córdova Woo" userId="48e678bc-df39-4a8a-a383-6b816eb75cf2" providerId="ADAL" clId="{AB417051-4E1B-4F99-90F7-7C35098E71C9}" dt="2024-09-18T13:32:47.516" v="1248" actId="1037"/>
          <ac:picMkLst>
            <pc:docMk/>
            <pc:sldMk cId="3233114531" sldId="2147310033"/>
            <ac:picMk id="13" creationId="{91508176-12B5-3D6D-7A84-21AE58E12492}"/>
          </ac:picMkLst>
        </pc:picChg>
        <pc:picChg chg="add mod">
          <ac:chgData name="Juan Enrique Córdova Woo" userId="48e678bc-df39-4a8a-a383-6b816eb75cf2" providerId="ADAL" clId="{AB417051-4E1B-4F99-90F7-7C35098E71C9}" dt="2024-09-18T13:47:29.400" v="1667" actId="552"/>
          <ac:picMkLst>
            <pc:docMk/>
            <pc:sldMk cId="3233114531" sldId="2147310033"/>
            <ac:picMk id="15" creationId="{BB9BAFE1-A5B1-3E18-56EC-E3D3F330C610}"/>
          </ac:picMkLst>
        </pc:picChg>
        <pc:picChg chg="add mod">
          <ac:chgData name="Juan Enrique Córdova Woo" userId="48e678bc-df39-4a8a-a383-6b816eb75cf2" providerId="ADAL" clId="{AB417051-4E1B-4F99-90F7-7C35098E71C9}" dt="2024-09-18T13:47:25.165" v="1666" actId="552"/>
          <ac:picMkLst>
            <pc:docMk/>
            <pc:sldMk cId="3233114531" sldId="2147310033"/>
            <ac:picMk id="18" creationId="{38ED5CA2-ADC5-3CE1-D382-63F375D43DEC}"/>
          </ac:picMkLst>
        </pc:picChg>
        <pc:picChg chg="mod">
          <ac:chgData name="Juan Enrique Córdova Woo" userId="48e678bc-df39-4a8a-a383-6b816eb75cf2" providerId="ADAL" clId="{AB417051-4E1B-4F99-90F7-7C35098E71C9}" dt="2024-09-18T13:32:47.516" v="1248" actId="1037"/>
          <ac:picMkLst>
            <pc:docMk/>
            <pc:sldMk cId="3233114531" sldId="2147310033"/>
            <ac:picMk id="19" creationId="{379D04FD-B23E-FFAA-4828-5A52A0A9B9A7}"/>
          </ac:picMkLst>
        </pc:picChg>
        <pc:picChg chg="mod">
          <ac:chgData name="Juan Enrique Córdova Woo" userId="48e678bc-df39-4a8a-a383-6b816eb75cf2" providerId="ADAL" clId="{AB417051-4E1B-4F99-90F7-7C35098E71C9}" dt="2024-09-18T13:32:47.516" v="1248" actId="1037"/>
          <ac:picMkLst>
            <pc:docMk/>
            <pc:sldMk cId="3233114531" sldId="2147310033"/>
            <ac:picMk id="21" creationId="{592E765F-2E6D-D1FF-7F52-DDCA869E01FA}"/>
          </ac:picMkLst>
        </pc:picChg>
        <pc:picChg chg="add del mod">
          <ac:chgData name="Juan Enrique Córdova Woo" userId="48e678bc-df39-4a8a-a383-6b816eb75cf2" providerId="ADAL" clId="{AB417051-4E1B-4F99-90F7-7C35098E71C9}" dt="2024-09-18T13:43:45.886" v="1445" actId="478"/>
          <ac:picMkLst>
            <pc:docMk/>
            <pc:sldMk cId="3233114531" sldId="2147310033"/>
            <ac:picMk id="22" creationId="{BDFACDB6-5F39-94D3-AD5D-EDE738B4370D}"/>
          </ac:picMkLst>
        </pc:picChg>
        <pc:picChg chg="mod">
          <ac:chgData name="Juan Enrique Córdova Woo" userId="48e678bc-df39-4a8a-a383-6b816eb75cf2" providerId="ADAL" clId="{AB417051-4E1B-4F99-90F7-7C35098E71C9}" dt="2024-09-18T13:32:47.516" v="1248" actId="1037"/>
          <ac:picMkLst>
            <pc:docMk/>
            <pc:sldMk cId="3233114531" sldId="2147310033"/>
            <ac:picMk id="23" creationId="{10E7E7F4-7019-BF09-2548-216098A1B204}"/>
          </ac:picMkLst>
        </pc:picChg>
        <pc:picChg chg="add mod">
          <ac:chgData name="Juan Enrique Córdova Woo" userId="48e678bc-df39-4a8a-a383-6b816eb75cf2" providerId="ADAL" clId="{AB417051-4E1B-4F99-90F7-7C35098E71C9}" dt="2024-09-18T13:47:25.165" v="1666" actId="552"/>
          <ac:picMkLst>
            <pc:docMk/>
            <pc:sldMk cId="3233114531" sldId="2147310033"/>
            <ac:picMk id="25" creationId="{B0D79570-D84B-DC84-4ADD-4FF89FB13F74}"/>
          </ac:picMkLst>
        </pc:picChg>
        <pc:picChg chg="add mod">
          <ac:chgData name="Juan Enrique Córdova Woo" userId="48e678bc-df39-4a8a-a383-6b816eb75cf2" providerId="ADAL" clId="{AB417051-4E1B-4F99-90F7-7C35098E71C9}" dt="2024-09-18T13:49:03.192" v="1673" actId="554"/>
          <ac:picMkLst>
            <pc:docMk/>
            <pc:sldMk cId="3233114531" sldId="2147310033"/>
            <ac:picMk id="27" creationId="{73618BFC-E0D3-AB80-D33E-CFD16B7AF17A}"/>
          </ac:picMkLst>
        </pc:picChg>
        <pc:picChg chg="del mod">
          <ac:chgData name="Juan Enrique Córdova Woo" userId="48e678bc-df39-4a8a-a383-6b816eb75cf2" providerId="ADAL" clId="{AB417051-4E1B-4F99-90F7-7C35098E71C9}" dt="2024-09-18T13:32:58.251" v="1249" actId="478"/>
          <ac:picMkLst>
            <pc:docMk/>
            <pc:sldMk cId="3233114531" sldId="2147310033"/>
            <ac:picMk id="28" creationId="{273CA1DC-FCA7-C703-D311-F8E12FA4831F}"/>
          </ac:picMkLst>
        </pc:picChg>
        <pc:picChg chg="del mod">
          <ac:chgData name="Juan Enrique Córdova Woo" userId="48e678bc-df39-4a8a-a383-6b816eb75cf2" providerId="ADAL" clId="{AB417051-4E1B-4F99-90F7-7C35098E71C9}" dt="2024-09-18T13:32:58.251" v="1249" actId="478"/>
          <ac:picMkLst>
            <pc:docMk/>
            <pc:sldMk cId="3233114531" sldId="2147310033"/>
            <ac:picMk id="29" creationId="{E0DD1EBC-7CC9-33F4-8464-80A0D7321063}"/>
          </ac:picMkLst>
        </pc:picChg>
        <pc:picChg chg="del mod">
          <ac:chgData name="Juan Enrique Córdova Woo" userId="48e678bc-df39-4a8a-a383-6b816eb75cf2" providerId="ADAL" clId="{AB417051-4E1B-4F99-90F7-7C35098E71C9}" dt="2024-09-18T13:32:58.251" v="1249" actId="478"/>
          <ac:picMkLst>
            <pc:docMk/>
            <pc:sldMk cId="3233114531" sldId="2147310033"/>
            <ac:picMk id="30" creationId="{E49267FA-0BB9-476A-13CD-ED17023F0C77}"/>
          </ac:picMkLst>
        </pc:picChg>
        <pc:picChg chg="del mod">
          <ac:chgData name="Juan Enrique Córdova Woo" userId="48e678bc-df39-4a8a-a383-6b816eb75cf2" providerId="ADAL" clId="{AB417051-4E1B-4F99-90F7-7C35098E71C9}" dt="2024-09-18T13:32:58.251" v="1249" actId="478"/>
          <ac:picMkLst>
            <pc:docMk/>
            <pc:sldMk cId="3233114531" sldId="2147310033"/>
            <ac:picMk id="31" creationId="{FA295E2E-DD21-0D8E-FBC0-A84A7724BA1F}"/>
          </ac:picMkLst>
        </pc:picChg>
        <pc:picChg chg="del">
          <ac:chgData name="Juan Enrique Córdova Woo" userId="48e678bc-df39-4a8a-a383-6b816eb75cf2" providerId="ADAL" clId="{AB417051-4E1B-4F99-90F7-7C35098E71C9}" dt="2024-09-18T13:32:58.251" v="1249" actId="478"/>
          <ac:picMkLst>
            <pc:docMk/>
            <pc:sldMk cId="3233114531" sldId="2147310033"/>
            <ac:picMk id="32" creationId="{4B116B90-DB48-128A-6464-EECCF57F979F}"/>
          </ac:picMkLst>
        </pc:picChg>
        <pc:picChg chg="del mod">
          <ac:chgData name="Juan Enrique Córdova Woo" userId="48e678bc-df39-4a8a-a383-6b816eb75cf2" providerId="ADAL" clId="{AB417051-4E1B-4F99-90F7-7C35098E71C9}" dt="2024-09-18T13:32:58.251" v="1249" actId="478"/>
          <ac:picMkLst>
            <pc:docMk/>
            <pc:sldMk cId="3233114531" sldId="2147310033"/>
            <ac:picMk id="33" creationId="{E1CEFE9E-925C-BB6D-D787-9B89D967C9F8}"/>
          </ac:picMkLst>
        </pc:picChg>
        <pc:picChg chg="del mod">
          <ac:chgData name="Juan Enrique Córdova Woo" userId="48e678bc-df39-4a8a-a383-6b816eb75cf2" providerId="ADAL" clId="{AB417051-4E1B-4F99-90F7-7C35098E71C9}" dt="2024-09-18T13:32:58.251" v="1249" actId="478"/>
          <ac:picMkLst>
            <pc:docMk/>
            <pc:sldMk cId="3233114531" sldId="2147310033"/>
            <ac:picMk id="34" creationId="{6864134A-C37D-CCA5-56BA-0B9347B03CDE}"/>
          </ac:picMkLst>
        </pc:picChg>
        <pc:picChg chg="add mod">
          <ac:chgData name="Juan Enrique Córdova Woo" userId="48e678bc-df39-4a8a-a383-6b816eb75cf2" providerId="ADAL" clId="{AB417051-4E1B-4F99-90F7-7C35098E71C9}" dt="2024-09-18T13:49:08.577" v="1674" actId="14100"/>
          <ac:picMkLst>
            <pc:docMk/>
            <pc:sldMk cId="3233114531" sldId="2147310033"/>
            <ac:picMk id="35" creationId="{92AFDE52-B3DE-4D1D-51BE-559573073C21}"/>
          </ac:picMkLst>
        </pc:picChg>
        <pc:picChg chg="add del mod">
          <ac:chgData name="Juan Enrique Córdova Woo" userId="48e678bc-df39-4a8a-a383-6b816eb75cf2" providerId="ADAL" clId="{AB417051-4E1B-4F99-90F7-7C35098E71C9}" dt="2024-09-18T13:36:13.940" v="1283" actId="478"/>
          <ac:picMkLst>
            <pc:docMk/>
            <pc:sldMk cId="3233114531" sldId="2147310033"/>
            <ac:picMk id="1025" creationId="{20061E35-8E9E-F410-59D4-11F040BC8A6A}"/>
          </ac:picMkLst>
        </pc:picChg>
        <pc:picChg chg="add mod">
          <ac:chgData name="Juan Enrique Córdova Woo" userId="48e678bc-df39-4a8a-a383-6b816eb75cf2" providerId="ADAL" clId="{AB417051-4E1B-4F99-90F7-7C35098E71C9}" dt="2024-09-18T13:45:28.167" v="1580" actId="553"/>
          <ac:picMkLst>
            <pc:docMk/>
            <pc:sldMk cId="3233114531" sldId="2147310033"/>
            <ac:picMk id="1026" creationId="{E277F9C8-ABB9-A3B1-3B02-08C5BE8166BF}"/>
          </ac:picMkLst>
        </pc:picChg>
        <pc:picChg chg="add mod">
          <ac:chgData name="Juan Enrique Córdova Woo" userId="48e678bc-df39-4a8a-a383-6b816eb75cf2" providerId="ADAL" clId="{AB417051-4E1B-4F99-90F7-7C35098E71C9}" dt="2024-09-18T13:44:45.251" v="1511" actId="1038"/>
          <ac:picMkLst>
            <pc:docMk/>
            <pc:sldMk cId="3233114531" sldId="2147310033"/>
            <ac:picMk id="1027" creationId="{9F434B13-C061-CDF7-80C3-8A139B3F5BDD}"/>
          </ac:picMkLst>
        </pc:picChg>
        <pc:picChg chg="add mod">
          <ac:chgData name="Juan Enrique Córdova Woo" userId="48e678bc-df39-4a8a-a383-6b816eb75cf2" providerId="ADAL" clId="{AB417051-4E1B-4F99-90F7-7C35098E71C9}" dt="2024-09-18T13:44:40.105" v="1493" actId="1037"/>
          <ac:picMkLst>
            <pc:docMk/>
            <pc:sldMk cId="3233114531" sldId="2147310033"/>
            <ac:picMk id="1028" creationId="{AEE58C35-38D6-04A4-63B9-905D07811CFD}"/>
          </ac:picMkLst>
        </pc:picChg>
        <pc:picChg chg="add mod">
          <ac:chgData name="Juan Enrique Córdova Woo" userId="48e678bc-df39-4a8a-a383-6b816eb75cf2" providerId="ADAL" clId="{AB417051-4E1B-4F99-90F7-7C35098E71C9}" dt="2024-09-18T13:44:10.812" v="1446" actId="14100"/>
          <ac:picMkLst>
            <pc:docMk/>
            <pc:sldMk cId="3233114531" sldId="2147310033"/>
            <ac:picMk id="1029" creationId="{7547A54C-2AE6-BFBC-4CCD-0616FB86DA72}"/>
          </ac:picMkLst>
        </pc:picChg>
        <pc:picChg chg="add mod">
          <ac:chgData name="Juan Enrique Córdova Woo" userId="48e678bc-df39-4a8a-a383-6b816eb75cf2" providerId="ADAL" clId="{AB417051-4E1B-4F99-90F7-7C35098E71C9}" dt="2024-09-18T13:45:47.945" v="1627" actId="553"/>
          <ac:picMkLst>
            <pc:docMk/>
            <pc:sldMk cId="3233114531" sldId="2147310033"/>
            <ac:picMk id="1031" creationId="{60C03CF5-2B31-0866-C7E5-9146767B3D76}"/>
          </ac:picMkLst>
        </pc:picChg>
        <pc:picChg chg="add mod">
          <ac:chgData name="Juan Enrique Córdova Woo" userId="48e678bc-df39-4a8a-a383-6b816eb75cf2" providerId="ADAL" clId="{AB417051-4E1B-4F99-90F7-7C35098E71C9}" dt="2024-09-18T13:45:14.807" v="1567" actId="1037"/>
          <ac:picMkLst>
            <pc:docMk/>
            <pc:sldMk cId="3233114531" sldId="2147310033"/>
            <ac:picMk id="1032" creationId="{B67AB71B-82F0-6543-27E0-F00E41657438}"/>
          </ac:picMkLst>
        </pc:picChg>
        <pc:picChg chg="add mod">
          <ac:chgData name="Juan Enrique Córdova Woo" userId="48e678bc-df39-4a8a-a383-6b816eb75cf2" providerId="ADAL" clId="{AB417051-4E1B-4F99-90F7-7C35098E71C9}" dt="2024-09-18T13:45:08.168" v="1550" actId="1037"/>
          <ac:picMkLst>
            <pc:docMk/>
            <pc:sldMk cId="3233114531" sldId="2147310033"/>
            <ac:picMk id="1033" creationId="{6F2E1666-2278-9CA2-CD20-26B8A18CD939}"/>
          </ac:picMkLst>
        </pc:picChg>
        <pc:picChg chg="add mod">
          <ac:chgData name="Juan Enrique Córdova Woo" userId="48e678bc-df39-4a8a-a383-6b816eb75cf2" providerId="ADAL" clId="{AB417051-4E1B-4F99-90F7-7C35098E71C9}" dt="2024-09-18T13:45:01.784" v="1540" actId="1037"/>
          <ac:picMkLst>
            <pc:docMk/>
            <pc:sldMk cId="3233114531" sldId="2147310033"/>
            <ac:picMk id="1034" creationId="{BEDE8204-8C6C-94AA-604B-2DF338D9E2C4}"/>
          </ac:picMkLst>
        </pc:picChg>
        <pc:picChg chg="add mod">
          <ac:chgData name="Juan Enrique Córdova Woo" userId="48e678bc-df39-4a8a-a383-6b816eb75cf2" providerId="ADAL" clId="{AB417051-4E1B-4F99-90F7-7C35098E71C9}" dt="2024-09-18T13:44:22.628" v="1470" actId="1035"/>
          <ac:picMkLst>
            <pc:docMk/>
            <pc:sldMk cId="3233114531" sldId="2147310033"/>
            <ac:picMk id="1035" creationId="{74F3B41F-7039-4E8D-A7FC-2D4DC9188DB2}"/>
          </ac:picMkLst>
        </pc:picChg>
        <pc:cxnChg chg="mod">
          <ac:chgData name="Juan Enrique Córdova Woo" userId="48e678bc-df39-4a8a-a383-6b816eb75cf2" providerId="ADAL" clId="{AB417051-4E1B-4F99-90F7-7C35098E71C9}" dt="2024-09-18T13:49:17.480" v="1675" actId="1037"/>
          <ac:cxnSpMkLst>
            <pc:docMk/>
            <pc:sldMk cId="3233114531" sldId="2147310033"/>
            <ac:cxnSpMk id="26" creationId="{00C2E779-E1F6-D3EA-8EEA-1669BC5F45E2}"/>
          </ac:cxnSpMkLst>
        </pc:cxnChg>
      </pc:sldChg>
      <pc:sldChg chg="addSp delSp modSp mod addAnim delAnim modAnim">
        <pc:chgData name="Juan Enrique Córdova Woo" userId="48e678bc-df39-4a8a-a383-6b816eb75cf2" providerId="ADAL" clId="{AB417051-4E1B-4F99-90F7-7C35098E71C9}" dt="2024-09-17T16:22:41.403" v="356" actId="1036"/>
        <pc:sldMkLst>
          <pc:docMk/>
          <pc:sldMk cId="1702709493" sldId="2147310036"/>
        </pc:sldMkLst>
        <pc:spChg chg="add del mod">
          <ac:chgData name="Juan Enrique Córdova Woo" userId="48e678bc-df39-4a8a-a383-6b816eb75cf2" providerId="ADAL" clId="{AB417051-4E1B-4F99-90F7-7C35098E71C9}" dt="2024-09-17T14:37:42.368" v="113" actId="478"/>
          <ac:spMkLst>
            <pc:docMk/>
            <pc:sldMk cId="1702709493" sldId="2147310036"/>
            <ac:spMk id="6" creationId="{A401BE6F-3C9A-1F9D-FDB1-51B6BF10A9B2}"/>
          </ac:spMkLst>
        </pc:spChg>
        <pc:spChg chg="add del mod">
          <ac:chgData name="Juan Enrique Córdova Woo" userId="48e678bc-df39-4a8a-a383-6b816eb75cf2" providerId="ADAL" clId="{AB417051-4E1B-4F99-90F7-7C35098E71C9}" dt="2024-09-17T16:22:41.403" v="356" actId="1036"/>
          <ac:spMkLst>
            <pc:docMk/>
            <pc:sldMk cId="1702709493" sldId="2147310036"/>
            <ac:spMk id="7" creationId="{B4E3CC02-00CB-686C-B6AA-8EB7AE4E4E80}"/>
          </ac:spMkLst>
        </pc:spChg>
        <pc:spChg chg="mod">
          <ac:chgData name="Juan Enrique Córdova Woo" userId="48e678bc-df39-4a8a-a383-6b816eb75cf2" providerId="ADAL" clId="{AB417051-4E1B-4F99-90F7-7C35098E71C9}" dt="2024-09-17T14:37:57.043" v="116" actId="552"/>
          <ac:spMkLst>
            <pc:docMk/>
            <pc:sldMk cId="1702709493" sldId="2147310036"/>
            <ac:spMk id="13" creationId="{A7F9AE06-D696-4934-3E94-C88F1F554421}"/>
          </ac:spMkLst>
        </pc:spChg>
        <pc:spChg chg="add mod">
          <ac:chgData name="Juan Enrique Córdova Woo" userId="48e678bc-df39-4a8a-a383-6b816eb75cf2" providerId="ADAL" clId="{AB417051-4E1B-4F99-90F7-7C35098E71C9}" dt="2024-09-17T14:37:57.043" v="116" actId="552"/>
          <ac:spMkLst>
            <pc:docMk/>
            <pc:sldMk cId="1702709493" sldId="2147310036"/>
            <ac:spMk id="18" creationId="{C552E7FD-7301-70BE-9D10-9190C2365552}"/>
          </ac:spMkLst>
        </pc:spChg>
        <pc:spChg chg="add del mod">
          <ac:chgData name="Juan Enrique Córdova Woo" userId="48e678bc-df39-4a8a-a383-6b816eb75cf2" providerId="ADAL" clId="{AB417051-4E1B-4F99-90F7-7C35098E71C9}" dt="2024-09-17T16:22:41.403" v="356" actId="1036"/>
          <ac:spMkLst>
            <pc:docMk/>
            <pc:sldMk cId="1702709493" sldId="2147310036"/>
            <ac:spMk id="19" creationId="{219F0228-A5E0-622A-2D4F-539E5C6179DC}"/>
          </ac:spMkLst>
        </pc:spChg>
        <pc:spChg chg="mod">
          <ac:chgData name="Juan Enrique Córdova Woo" userId="48e678bc-df39-4a8a-a383-6b816eb75cf2" providerId="ADAL" clId="{AB417051-4E1B-4F99-90F7-7C35098E71C9}" dt="2024-09-17T16:22:33.145" v="332" actId="1035"/>
          <ac:spMkLst>
            <pc:docMk/>
            <pc:sldMk cId="1702709493" sldId="2147310036"/>
            <ac:spMk id="27" creationId="{7CF16DB1-945A-B93B-67A6-671788ECD334}"/>
          </ac:spMkLst>
        </pc:spChg>
        <pc:spChg chg="mod">
          <ac:chgData name="Juan Enrique Córdova Woo" userId="48e678bc-df39-4a8a-a383-6b816eb75cf2" providerId="ADAL" clId="{AB417051-4E1B-4F99-90F7-7C35098E71C9}" dt="2024-09-17T14:38:46.944" v="156" actId="1036"/>
          <ac:spMkLst>
            <pc:docMk/>
            <pc:sldMk cId="1702709493" sldId="2147310036"/>
            <ac:spMk id="37" creationId="{0BA00B9C-ABB1-7EF7-83F4-6B2C76F61927}"/>
          </ac:spMkLst>
        </pc:spChg>
        <pc:spChg chg="mod">
          <ac:chgData name="Juan Enrique Córdova Woo" userId="48e678bc-df39-4a8a-a383-6b816eb75cf2" providerId="ADAL" clId="{AB417051-4E1B-4F99-90F7-7C35098E71C9}" dt="2024-09-17T14:38:13.722" v="122" actId="6549"/>
          <ac:spMkLst>
            <pc:docMk/>
            <pc:sldMk cId="1702709493" sldId="2147310036"/>
            <ac:spMk id="52" creationId="{D3025A42-AB12-02DF-F704-5ED0E025B12F}"/>
          </ac:spMkLst>
        </pc:spChg>
        <pc:spChg chg="mod">
          <ac:chgData name="Juan Enrique Córdova Woo" userId="48e678bc-df39-4a8a-a383-6b816eb75cf2" providerId="ADAL" clId="{AB417051-4E1B-4F99-90F7-7C35098E71C9}" dt="2024-09-17T14:38:38.274" v="143" actId="20577"/>
          <ac:spMkLst>
            <pc:docMk/>
            <pc:sldMk cId="1702709493" sldId="2147310036"/>
            <ac:spMk id="53" creationId="{FA42AA40-A391-EC6A-40D7-8F46A9ED8DE4}"/>
          </ac:spMkLst>
        </pc:spChg>
        <pc:spChg chg="add del mod">
          <ac:chgData name="Juan Enrique Córdova Woo" userId="48e678bc-df39-4a8a-a383-6b816eb75cf2" providerId="ADAL" clId="{AB417051-4E1B-4F99-90F7-7C35098E71C9}" dt="2024-09-17T16:22:41.403" v="356" actId="1036"/>
          <ac:spMkLst>
            <pc:docMk/>
            <pc:sldMk cId="1702709493" sldId="2147310036"/>
            <ac:spMk id="57" creationId="{4532FAF8-B96F-0731-BC66-4E3DB911091F}"/>
          </ac:spMkLst>
        </pc:spChg>
        <pc:spChg chg="mod">
          <ac:chgData name="Juan Enrique Córdova Woo" userId="48e678bc-df39-4a8a-a383-6b816eb75cf2" providerId="ADAL" clId="{AB417051-4E1B-4F99-90F7-7C35098E71C9}" dt="2024-09-17T16:22:33.145" v="332" actId="1035"/>
          <ac:spMkLst>
            <pc:docMk/>
            <pc:sldMk cId="1702709493" sldId="2147310036"/>
            <ac:spMk id="69" creationId="{2CE55FB3-6E6B-F2B1-A24C-58E9F286C2FD}"/>
          </ac:spMkLst>
        </pc:spChg>
        <pc:spChg chg="add del mod">
          <ac:chgData name="Juan Enrique Córdova Woo" userId="48e678bc-df39-4a8a-a383-6b816eb75cf2" providerId="ADAL" clId="{AB417051-4E1B-4F99-90F7-7C35098E71C9}" dt="2024-09-17T16:22:41.403" v="356" actId="1036"/>
          <ac:spMkLst>
            <pc:docMk/>
            <pc:sldMk cId="1702709493" sldId="2147310036"/>
            <ac:spMk id="82" creationId="{9DA66A22-3529-8FEF-5426-9215D7B34A96}"/>
          </ac:spMkLst>
        </pc:spChg>
        <pc:spChg chg="add del mod">
          <ac:chgData name="Juan Enrique Córdova Woo" userId="48e678bc-df39-4a8a-a383-6b816eb75cf2" providerId="ADAL" clId="{AB417051-4E1B-4F99-90F7-7C35098E71C9}" dt="2024-09-17T16:22:41.403" v="356" actId="1036"/>
          <ac:spMkLst>
            <pc:docMk/>
            <pc:sldMk cId="1702709493" sldId="2147310036"/>
            <ac:spMk id="89" creationId="{EC857750-AAEC-B371-0D41-2B19DAC5B150}"/>
          </ac:spMkLst>
        </pc:spChg>
        <pc:grpChg chg="mod">
          <ac:chgData name="Juan Enrique Córdova Woo" userId="48e678bc-df39-4a8a-a383-6b816eb75cf2" providerId="ADAL" clId="{AB417051-4E1B-4F99-90F7-7C35098E71C9}" dt="2024-09-17T14:40:36.212" v="159" actId="14100"/>
          <ac:grpSpMkLst>
            <pc:docMk/>
            <pc:sldMk cId="1702709493" sldId="2147310036"/>
            <ac:grpSpMk id="15" creationId="{D64C4FA5-BF9B-4CB0-A633-7699FF995123}"/>
          </ac:grpSpMkLst>
        </pc:grpChg>
        <pc:cxnChg chg="mod">
          <ac:chgData name="Juan Enrique Córdova Woo" userId="48e678bc-df39-4a8a-a383-6b816eb75cf2" providerId="ADAL" clId="{AB417051-4E1B-4F99-90F7-7C35098E71C9}" dt="2024-09-17T14:35:49.947" v="6" actId="1035"/>
          <ac:cxnSpMkLst>
            <pc:docMk/>
            <pc:sldMk cId="1702709493" sldId="2147310036"/>
            <ac:cxnSpMk id="73" creationId="{3697CCAC-0E37-6A28-ED96-031DCEA4FC70}"/>
          </ac:cxnSpMkLst>
        </pc:cxnChg>
      </pc:sldChg>
      <pc:sldChg chg="addSp modSp mod modAnim">
        <pc:chgData name="Juan Enrique Córdova Woo" userId="48e678bc-df39-4a8a-a383-6b816eb75cf2" providerId="ADAL" clId="{AB417051-4E1B-4F99-90F7-7C35098E71C9}" dt="2024-09-17T15:42:31.323" v="261" actId="1036"/>
        <pc:sldMkLst>
          <pc:docMk/>
          <pc:sldMk cId="20371015" sldId="2147310037"/>
        </pc:sldMkLst>
        <pc:spChg chg="add mod">
          <ac:chgData name="Juan Enrique Córdova Woo" userId="48e678bc-df39-4a8a-a383-6b816eb75cf2" providerId="ADAL" clId="{AB417051-4E1B-4F99-90F7-7C35098E71C9}" dt="2024-09-17T15:42:31.323" v="261" actId="1036"/>
          <ac:spMkLst>
            <pc:docMk/>
            <pc:sldMk cId="20371015" sldId="2147310037"/>
            <ac:spMk id="3" creationId="{CE4ECE58-EAB1-72BD-DEE8-2B066648CA7F}"/>
          </ac:spMkLst>
        </pc:spChg>
      </pc:sldChg>
      <pc:sldChg chg="addSp delSp modSp mod delAnim modAnim">
        <pc:chgData name="Juan Enrique Córdova Woo" userId="48e678bc-df39-4a8a-a383-6b816eb75cf2" providerId="ADAL" clId="{AB417051-4E1B-4F99-90F7-7C35098E71C9}" dt="2024-09-17T16:06:15.719" v="320" actId="1035"/>
        <pc:sldMkLst>
          <pc:docMk/>
          <pc:sldMk cId="1170878351" sldId="2147310038"/>
        </pc:sldMkLst>
        <pc:spChg chg="mod">
          <ac:chgData name="Juan Enrique Córdova Woo" userId="48e678bc-df39-4a8a-a383-6b816eb75cf2" providerId="ADAL" clId="{AB417051-4E1B-4F99-90F7-7C35098E71C9}" dt="2024-09-17T16:05:48.850" v="284" actId="6549"/>
          <ac:spMkLst>
            <pc:docMk/>
            <pc:sldMk cId="1170878351" sldId="2147310038"/>
            <ac:spMk id="4" creationId="{214813B5-CFED-29B4-BF6F-6CDF2DFD1998}"/>
          </ac:spMkLst>
        </pc:spChg>
        <pc:spChg chg="del">
          <ac:chgData name="Juan Enrique Córdova Woo" userId="48e678bc-df39-4a8a-a383-6b816eb75cf2" providerId="ADAL" clId="{AB417051-4E1B-4F99-90F7-7C35098E71C9}" dt="2024-09-17T16:06:05.388" v="286" actId="478"/>
          <ac:spMkLst>
            <pc:docMk/>
            <pc:sldMk cId="1170878351" sldId="2147310038"/>
            <ac:spMk id="5" creationId="{DCFC370B-44D8-91ED-9C38-441986C9E4BE}"/>
          </ac:spMkLst>
        </pc:spChg>
        <pc:spChg chg="mod">
          <ac:chgData name="Juan Enrique Córdova Woo" userId="48e678bc-df39-4a8a-a383-6b816eb75cf2" providerId="ADAL" clId="{AB417051-4E1B-4F99-90F7-7C35098E71C9}" dt="2024-09-17T16:06:11.835" v="306" actId="1035"/>
          <ac:spMkLst>
            <pc:docMk/>
            <pc:sldMk cId="1170878351" sldId="2147310038"/>
            <ac:spMk id="39" creationId="{A09B774A-456B-D4AC-519A-D04D46F2BC7B}"/>
          </ac:spMkLst>
        </pc:spChg>
        <pc:spChg chg="mod">
          <ac:chgData name="Juan Enrique Córdova Woo" userId="48e678bc-df39-4a8a-a383-6b816eb75cf2" providerId="ADAL" clId="{AB417051-4E1B-4F99-90F7-7C35098E71C9}" dt="2024-09-17T16:06:15.719" v="320" actId="1035"/>
          <ac:spMkLst>
            <pc:docMk/>
            <pc:sldMk cId="1170878351" sldId="2147310038"/>
            <ac:spMk id="86" creationId="{9D3C1B1C-146E-12A8-1EEA-E3C454EA412C}"/>
          </ac:spMkLst>
        </pc:spChg>
        <pc:spChg chg="del">
          <ac:chgData name="Juan Enrique Córdova Woo" userId="48e678bc-df39-4a8a-a383-6b816eb75cf2" providerId="ADAL" clId="{AB417051-4E1B-4F99-90F7-7C35098E71C9}" dt="2024-09-17T16:05:52.373" v="285" actId="478"/>
          <ac:spMkLst>
            <pc:docMk/>
            <pc:sldMk cId="1170878351" sldId="2147310038"/>
            <ac:spMk id="104" creationId="{9A822F9E-4B16-E534-CB63-DC0752B23012}"/>
          </ac:spMkLst>
        </pc:spChg>
        <pc:cxnChg chg="add del mod">
          <ac:chgData name="Juan Enrique Córdova Woo" userId="48e678bc-df39-4a8a-a383-6b816eb75cf2" providerId="ADAL" clId="{AB417051-4E1B-4F99-90F7-7C35098E71C9}" dt="2024-09-17T15:43:04.644" v="264" actId="478"/>
          <ac:cxnSpMkLst>
            <pc:docMk/>
            <pc:sldMk cId="1170878351" sldId="2147310038"/>
            <ac:cxnSpMk id="6" creationId="{71AD2098-A60E-AFB7-CDC1-D0DF9F8C00F7}"/>
          </ac:cxnSpMkLst>
        </pc:cxnChg>
      </pc:sldChg>
    </pc:docChg>
  </pc:docChgLst>
  <pc:docChgLst>
    <pc:chgData name="Zeyda Belinda Alfaro Alva" userId="S::zalfaroa@palmas.com.pe::bd6668ce-fb96-4a77-ac3c-626e84c606bf" providerId="AD" clId="Web-{D22BEE6C-61B9-42D8-A7A6-DF8BF05A3777}"/>
    <pc:docChg chg="modSld">
      <pc:chgData name="Zeyda Belinda Alfaro Alva" userId="S::zalfaroa@palmas.com.pe::bd6668ce-fb96-4a77-ac3c-626e84c606bf" providerId="AD" clId="Web-{D22BEE6C-61B9-42D8-A7A6-DF8BF05A3777}" dt="2024-05-16T14:25:26.831" v="7"/>
      <pc:docMkLst>
        <pc:docMk/>
      </pc:docMkLst>
      <pc:sldChg chg="modSp">
        <pc:chgData name="Zeyda Belinda Alfaro Alva" userId="S::zalfaroa@palmas.com.pe::bd6668ce-fb96-4a77-ac3c-626e84c606bf" providerId="AD" clId="Web-{D22BEE6C-61B9-42D8-A7A6-DF8BF05A3777}" dt="2024-05-16T14:25:26.831" v="7"/>
        <pc:sldMkLst>
          <pc:docMk/>
          <pc:sldMk cId="151272569" sldId="2147310022"/>
        </pc:sldMkLst>
        <pc:graphicFrameChg chg="mod modGraphic">
          <ac:chgData name="Zeyda Belinda Alfaro Alva" userId="S::zalfaroa@palmas.com.pe::bd6668ce-fb96-4a77-ac3c-626e84c606bf" providerId="AD" clId="Web-{D22BEE6C-61B9-42D8-A7A6-DF8BF05A3777}" dt="2024-05-16T14:25:26.831" v="7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</pc:sldChg>
    </pc:docChg>
  </pc:docChgLst>
  <pc:docChgLst>
    <pc:chgData name="Luis Fernando Díaz del Olmo Campo" userId="c0dc18b8-e099-44a1-9084-0ad0746d0f06" providerId="ADAL" clId="{C4ACD785-B8BC-454B-BF69-A671C8321816}"/>
    <pc:docChg chg="undo custSel modSld">
      <pc:chgData name="Luis Fernando Díaz del Olmo Campo" userId="c0dc18b8-e099-44a1-9084-0ad0746d0f06" providerId="ADAL" clId="{C4ACD785-B8BC-454B-BF69-A671C8321816}" dt="2024-05-14T20:30:54.694" v="480" actId="1076"/>
      <pc:docMkLst>
        <pc:docMk/>
      </pc:docMkLst>
      <pc:sldChg chg="addSp delSp modSp mod">
        <pc:chgData name="Luis Fernando Díaz del Olmo Campo" userId="c0dc18b8-e099-44a1-9084-0ad0746d0f06" providerId="ADAL" clId="{C4ACD785-B8BC-454B-BF69-A671C8321816}" dt="2024-05-14T18:43:14.882" v="65" actId="14100"/>
        <pc:sldMkLst>
          <pc:docMk/>
          <pc:sldMk cId="2525707367" sldId="272"/>
        </pc:sldMkLst>
        <pc:spChg chg="add mod">
          <ac:chgData name="Luis Fernando Díaz del Olmo Campo" userId="c0dc18b8-e099-44a1-9084-0ad0746d0f06" providerId="ADAL" clId="{C4ACD785-B8BC-454B-BF69-A671C8321816}" dt="2024-05-14T18:41:21.443" v="6" actId="20577"/>
          <ac:spMkLst>
            <pc:docMk/>
            <pc:sldMk cId="2525707367" sldId="272"/>
            <ac:spMk id="3" creationId="{D3164E09-C29D-A0E6-2D16-CA62BABACA11}"/>
          </ac:spMkLst>
        </pc:spChg>
        <pc:spChg chg="del mod">
          <ac:chgData name="Luis Fernando Díaz del Olmo Campo" userId="c0dc18b8-e099-44a1-9084-0ad0746d0f06" providerId="ADAL" clId="{C4ACD785-B8BC-454B-BF69-A671C8321816}" dt="2024-05-14T18:41:26.363" v="7" actId="478"/>
          <ac:spMkLst>
            <pc:docMk/>
            <pc:sldMk cId="2525707367" sldId="272"/>
            <ac:spMk id="4" creationId="{AE364AA9-C0B1-4457-A402-7F950E69C2B3}"/>
          </ac:spMkLst>
        </pc:spChg>
        <pc:spChg chg="add mod">
          <ac:chgData name="Luis Fernando Díaz del Olmo Campo" userId="c0dc18b8-e099-44a1-9084-0ad0746d0f06" providerId="ADAL" clId="{C4ACD785-B8BC-454B-BF69-A671C8321816}" dt="2024-05-14T18:42:09.703" v="28" actId="1036"/>
          <ac:spMkLst>
            <pc:docMk/>
            <pc:sldMk cId="2525707367" sldId="272"/>
            <ac:spMk id="5" creationId="{AEEBF140-B757-413E-7EC8-737EE86AFB77}"/>
          </ac:spMkLst>
        </pc:spChg>
        <pc:spChg chg="mod">
          <ac:chgData name="Luis Fernando Díaz del Olmo Campo" userId="c0dc18b8-e099-44a1-9084-0ad0746d0f06" providerId="ADAL" clId="{C4ACD785-B8BC-454B-BF69-A671C8321816}" dt="2024-05-14T18:43:14.882" v="65" actId="14100"/>
          <ac:spMkLst>
            <pc:docMk/>
            <pc:sldMk cId="2525707367" sldId="272"/>
            <ac:spMk id="6" creationId="{C33BD1A0-6495-47D6-A37B-D06A8E53A7A2}"/>
          </ac:spMkLst>
        </pc:spChg>
        <pc:spChg chg="mod">
          <ac:chgData name="Luis Fernando Díaz del Olmo Campo" userId="c0dc18b8-e099-44a1-9084-0ad0746d0f06" providerId="ADAL" clId="{C4ACD785-B8BC-454B-BF69-A671C8321816}" dt="2024-05-14T18:42:01.619" v="20" actId="1036"/>
          <ac:spMkLst>
            <pc:docMk/>
            <pc:sldMk cId="2525707367" sldId="272"/>
            <ac:spMk id="8" creationId="{1376A77D-6A9A-4FC4-9576-F36B259B2757}"/>
          </ac:spMkLst>
        </pc:spChg>
        <pc:spChg chg="mod">
          <ac:chgData name="Luis Fernando Díaz del Olmo Campo" userId="c0dc18b8-e099-44a1-9084-0ad0746d0f06" providerId="ADAL" clId="{C4ACD785-B8BC-454B-BF69-A671C8321816}" dt="2024-05-14T18:42:01.619" v="20" actId="1036"/>
          <ac:spMkLst>
            <pc:docMk/>
            <pc:sldMk cId="2525707367" sldId="272"/>
            <ac:spMk id="12" creationId="{3C518A69-8B92-40B8-8179-06F7197CE2EE}"/>
          </ac:spMkLst>
        </pc:spChg>
        <pc:spChg chg="mod">
          <ac:chgData name="Luis Fernando Díaz del Olmo Campo" userId="c0dc18b8-e099-44a1-9084-0ad0746d0f06" providerId="ADAL" clId="{C4ACD785-B8BC-454B-BF69-A671C8321816}" dt="2024-05-14T18:42:01.619" v="20" actId="1036"/>
          <ac:spMkLst>
            <pc:docMk/>
            <pc:sldMk cId="2525707367" sldId="272"/>
            <ac:spMk id="13" creationId="{C1C3BDA6-F148-4974-BA76-529C76DF05CA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2:59.443" v="60" actId="207"/>
        <pc:sldMkLst>
          <pc:docMk/>
          <pc:sldMk cId="3364071046" sldId="273"/>
        </pc:sldMkLst>
        <pc:spChg chg="add mod">
          <ac:chgData name="Luis Fernando Díaz del Olmo Campo" userId="c0dc18b8-e099-44a1-9084-0ad0746d0f06" providerId="ADAL" clId="{C4ACD785-B8BC-454B-BF69-A671C8321816}" dt="2024-05-14T18:42:37.377" v="55"/>
          <ac:spMkLst>
            <pc:docMk/>
            <pc:sldMk cId="3364071046" sldId="273"/>
            <ac:spMk id="5" creationId="{DD490BA8-6786-0852-738B-C3663C804D9B}"/>
          </ac:spMkLst>
        </pc:spChg>
        <pc:spChg chg="add mod">
          <ac:chgData name="Luis Fernando Díaz del Olmo Campo" userId="c0dc18b8-e099-44a1-9084-0ad0746d0f06" providerId="ADAL" clId="{C4ACD785-B8BC-454B-BF69-A671C8321816}" dt="2024-05-14T18:42:37.377" v="55"/>
          <ac:spMkLst>
            <pc:docMk/>
            <pc:sldMk cId="3364071046" sldId="273"/>
            <ac:spMk id="11" creationId="{A75BC582-FDE0-88E6-1C70-22BE328C986E}"/>
          </ac:spMkLst>
        </pc:spChg>
        <pc:spChg chg="add mod">
          <ac:chgData name="Luis Fernando Díaz del Olmo Campo" userId="c0dc18b8-e099-44a1-9084-0ad0746d0f06" providerId="ADAL" clId="{C4ACD785-B8BC-454B-BF69-A671C8321816}" dt="2024-05-14T18:42:59.443" v="60" actId="207"/>
          <ac:spMkLst>
            <pc:docMk/>
            <pc:sldMk cId="3364071046" sldId="273"/>
            <ac:spMk id="13" creationId="{010B6687-BC9F-3056-1A22-D7FDC81CECAC}"/>
          </ac:spMkLst>
        </pc:spChg>
        <pc:spChg chg="del">
          <ac:chgData name="Luis Fernando Díaz del Olmo Campo" userId="c0dc18b8-e099-44a1-9084-0ad0746d0f06" providerId="ADAL" clId="{C4ACD785-B8BC-454B-BF69-A671C8321816}" dt="2024-05-14T18:42:56.237" v="58" actId="478"/>
          <ac:spMkLst>
            <pc:docMk/>
            <pc:sldMk cId="3364071046" sldId="273"/>
            <ac:spMk id="15" creationId="{BDD9413B-925D-1189-E41E-75EFBE60C9D7}"/>
          </ac:spMkLst>
        </pc:spChg>
        <pc:spChg chg="add mod">
          <ac:chgData name="Luis Fernando Díaz del Olmo Campo" userId="c0dc18b8-e099-44a1-9084-0ad0746d0f06" providerId="ADAL" clId="{C4ACD785-B8BC-454B-BF69-A671C8321816}" dt="2024-05-14T18:42:59.443" v="60" actId="207"/>
          <ac:spMkLst>
            <pc:docMk/>
            <pc:sldMk cId="3364071046" sldId="273"/>
            <ac:spMk id="16" creationId="{0035736E-F587-2CE9-FE17-4C203986C62E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39.044" v="88" actId="478"/>
        <pc:sldMkLst>
          <pc:docMk/>
          <pc:sldMk cId="1360008020" sldId="2134805472"/>
        </pc:sldMkLst>
        <pc:spChg chg="add del mod">
          <ac:chgData name="Luis Fernando Díaz del Olmo Campo" userId="c0dc18b8-e099-44a1-9084-0ad0746d0f06" providerId="ADAL" clId="{C4ACD785-B8BC-454B-BF69-A671C8321816}" dt="2024-05-14T18:44:39.044" v="88" actId="478"/>
          <ac:spMkLst>
            <pc:docMk/>
            <pc:sldMk cId="1360008020" sldId="2134805472"/>
            <ac:spMk id="3" creationId="{9F50B271-A7DA-8E39-8A67-9C16EB7B5BDA}"/>
          </ac:spMkLst>
        </pc:spChg>
        <pc:spChg chg="add del mod">
          <ac:chgData name="Luis Fernando Díaz del Olmo Campo" userId="c0dc18b8-e099-44a1-9084-0ad0746d0f06" providerId="ADAL" clId="{C4ACD785-B8BC-454B-BF69-A671C8321816}" dt="2024-05-14T18:44:39.044" v="88" actId="478"/>
          <ac:spMkLst>
            <pc:docMk/>
            <pc:sldMk cId="1360008020" sldId="2134805472"/>
            <ac:spMk id="4" creationId="{6B202A71-098F-9D07-6416-1D4B24450BE0}"/>
          </ac:spMkLst>
        </pc:spChg>
        <pc:spChg chg="del">
          <ac:chgData name="Luis Fernando Díaz del Olmo Campo" userId="c0dc18b8-e099-44a1-9084-0ad0746d0f06" providerId="ADAL" clId="{C4ACD785-B8BC-454B-BF69-A671C8321816}" dt="2024-05-14T18:44:36.596" v="86" actId="478"/>
          <ac:spMkLst>
            <pc:docMk/>
            <pc:sldMk cId="1360008020" sldId="2134805472"/>
            <ac:spMk id="10" creationId="{4E43AA56-9DCF-358B-1C77-1ED9172FFBB4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3:10.278" v="64" actId="207"/>
        <pc:sldMkLst>
          <pc:docMk/>
          <pc:sldMk cId="3730778646" sldId="2147309983"/>
        </pc:sldMkLst>
        <pc:spChg chg="add mod">
          <ac:chgData name="Luis Fernando Díaz del Olmo Campo" userId="c0dc18b8-e099-44a1-9084-0ad0746d0f06" providerId="ADAL" clId="{C4ACD785-B8BC-454B-BF69-A671C8321816}" dt="2024-05-14T18:43:10.278" v="64" actId="207"/>
          <ac:spMkLst>
            <pc:docMk/>
            <pc:sldMk cId="3730778646" sldId="2147309983"/>
            <ac:spMk id="5" creationId="{8AF38F8B-D08C-54D8-4BDD-6BF55D880C48}"/>
          </ac:spMkLst>
        </pc:spChg>
        <pc:spChg chg="add mod">
          <ac:chgData name="Luis Fernando Díaz del Olmo Campo" userId="c0dc18b8-e099-44a1-9084-0ad0746d0f06" providerId="ADAL" clId="{C4ACD785-B8BC-454B-BF69-A671C8321816}" dt="2024-05-14T18:43:06.609" v="63" actId="207"/>
          <ac:spMkLst>
            <pc:docMk/>
            <pc:sldMk cId="3730778646" sldId="2147309983"/>
            <ac:spMk id="6" creationId="{558369C2-EC91-E83E-56D7-20E5C1E6DDD0}"/>
          </ac:spMkLst>
        </pc:spChg>
        <pc:spChg chg="del">
          <ac:chgData name="Luis Fernando Díaz del Olmo Campo" userId="c0dc18b8-e099-44a1-9084-0ad0746d0f06" providerId="ADAL" clId="{C4ACD785-B8BC-454B-BF69-A671C8321816}" dt="2024-05-14T18:43:04.271" v="61" actId="478"/>
          <ac:spMkLst>
            <pc:docMk/>
            <pc:sldMk cId="3730778646" sldId="2147309983"/>
            <ac:spMk id="7" creationId="{8235E3C5-FC29-5FD9-4F2D-F1CD8501F04F}"/>
          </ac:spMkLst>
        </pc:spChg>
        <pc:graphicFrameChg chg="modGraphic">
          <ac:chgData name="Luis Fernando Díaz del Olmo Campo" userId="c0dc18b8-e099-44a1-9084-0ad0746d0f06" providerId="ADAL" clId="{C4ACD785-B8BC-454B-BF69-A671C8321816}" dt="2024-05-14T18:41:36.061" v="13" actId="14734"/>
          <ac:graphicFrameMkLst>
            <pc:docMk/>
            <pc:sldMk cId="3730778646" sldId="2147309983"/>
            <ac:graphicFrameMk id="2" creationId="{75F28477-55F2-A417-EBF1-D61943C64A04}"/>
          </ac:graphicFrameMkLst>
        </pc:graphicFrameChg>
      </pc:sldChg>
      <pc:sldChg chg="addSp delSp modSp mod">
        <pc:chgData name="Luis Fernando Díaz del Olmo Campo" userId="c0dc18b8-e099-44a1-9084-0ad0746d0f06" providerId="ADAL" clId="{C4ACD785-B8BC-454B-BF69-A671C8321816}" dt="2024-05-14T18:43:55.257" v="71" actId="14100"/>
        <pc:sldMkLst>
          <pc:docMk/>
          <pc:sldMk cId="3440338096" sldId="2147309992"/>
        </pc:sldMkLst>
        <pc:spChg chg="add mod">
          <ac:chgData name="Luis Fernando Díaz del Olmo Campo" userId="c0dc18b8-e099-44a1-9084-0ad0746d0f06" providerId="ADAL" clId="{C4ACD785-B8BC-454B-BF69-A671C8321816}" dt="2024-05-14T18:43:52.275" v="70" actId="207"/>
          <ac:spMkLst>
            <pc:docMk/>
            <pc:sldMk cId="3440338096" sldId="2147309992"/>
            <ac:spMk id="5" creationId="{F6931F77-382B-3915-2FA3-8B521DAA854C}"/>
          </ac:spMkLst>
        </pc:spChg>
        <pc:spChg chg="add mod">
          <ac:chgData name="Luis Fernando Díaz del Olmo Campo" userId="c0dc18b8-e099-44a1-9084-0ad0746d0f06" providerId="ADAL" clId="{C4ACD785-B8BC-454B-BF69-A671C8321816}" dt="2024-05-14T18:43:52.275" v="70" actId="207"/>
          <ac:spMkLst>
            <pc:docMk/>
            <pc:sldMk cId="3440338096" sldId="2147309992"/>
            <ac:spMk id="11" creationId="{B08A048D-6014-6AEA-22CD-AE3F1E242444}"/>
          </ac:spMkLst>
        </pc:spChg>
        <pc:spChg chg="del">
          <ac:chgData name="Luis Fernando Díaz del Olmo Campo" userId="c0dc18b8-e099-44a1-9084-0ad0746d0f06" providerId="ADAL" clId="{C4ACD785-B8BC-454B-BF69-A671C8321816}" dt="2024-05-14T18:43:48.928" v="68" actId="478"/>
          <ac:spMkLst>
            <pc:docMk/>
            <pc:sldMk cId="3440338096" sldId="2147309992"/>
            <ac:spMk id="15" creationId="{BDD9413B-925D-1189-E41E-75EFBE60C9D7}"/>
          </ac:spMkLst>
        </pc:spChg>
        <pc:picChg chg="mod">
          <ac:chgData name="Luis Fernando Díaz del Olmo Campo" userId="c0dc18b8-e099-44a1-9084-0ad0746d0f06" providerId="ADAL" clId="{C4ACD785-B8BC-454B-BF69-A671C8321816}" dt="2024-05-14T18:43:55.257" v="71" actId="14100"/>
          <ac:picMkLst>
            <pc:docMk/>
            <pc:sldMk cId="3440338096" sldId="2147309992"/>
            <ac:picMk id="107524" creationId="{BCBFEE64-C4FC-4E5F-AC51-4F639E82EE30}"/>
          </ac:picMkLst>
        </pc:picChg>
      </pc:sldChg>
      <pc:sldChg chg="addSp delSp modSp mod">
        <pc:chgData name="Luis Fernando Díaz del Olmo Campo" userId="c0dc18b8-e099-44a1-9084-0ad0746d0f06" providerId="ADAL" clId="{C4ACD785-B8BC-454B-BF69-A671C8321816}" dt="2024-05-14T18:44:07.145" v="75"/>
        <pc:sldMkLst>
          <pc:docMk/>
          <pc:sldMk cId="2708129328" sldId="2147310004"/>
        </pc:sldMkLst>
        <pc:spChg chg="add mod">
          <ac:chgData name="Luis Fernando Díaz del Olmo Campo" userId="c0dc18b8-e099-44a1-9084-0ad0746d0f06" providerId="ADAL" clId="{C4ACD785-B8BC-454B-BF69-A671C8321816}" dt="2024-05-14T18:44:07.145" v="75"/>
          <ac:spMkLst>
            <pc:docMk/>
            <pc:sldMk cId="2708129328" sldId="2147310004"/>
            <ac:spMk id="3" creationId="{9346D806-A9CF-4E7B-D493-A0FE920D2D37}"/>
          </ac:spMkLst>
        </pc:spChg>
        <pc:spChg chg="del">
          <ac:chgData name="Luis Fernando Díaz del Olmo Campo" userId="c0dc18b8-e099-44a1-9084-0ad0746d0f06" providerId="ADAL" clId="{C4ACD785-B8BC-454B-BF69-A671C8321816}" dt="2024-05-14T18:44:06.748" v="74" actId="478"/>
          <ac:spMkLst>
            <pc:docMk/>
            <pc:sldMk cId="2708129328" sldId="2147310004"/>
            <ac:spMk id="5" creationId="{6B5ABE9F-F395-9748-6962-E0C5EAFEB166}"/>
          </ac:spMkLst>
        </pc:spChg>
        <pc:spChg chg="del">
          <ac:chgData name="Luis Fernando Díaz del Olmo Campo" userId="c0dc18b8-e099-44a1-9084-0ad0746d0f06" providerId="ADAL" clId="{C4ACD785-B8BC-454B-BF69-A671C8321816}" dt="2024-05-14T18:44:06.748" v="74" actId="478"/>
          <ac:spMkLst>
            <pc:docMk/>
            <pc:sldMk cId="2708129328" sldId="2147310004"/>
            <ac:spMk id="47" creationId="{84B60456-66BB-9D6B-00C1-F1E4256F10C9}"/>
          </ac:spMkLst>
        </pc:spChg>
        <pc:spChg chg="add mod">
          <ac:chgData name="Luis Fernando Díaz del Olmo Campo" userId="c0dc18b8-e099-44a1-9084-0ad0746d0f06" providerId="ADAL" clId="{C4ACD785-B8BC-454B-BF69-A671C8321816}" dt="2024-05-14T18:44:07.145" v="75"/>
          <ac:spMkLst>
            <pc:docMk/>
            <pc:sldMk cId="2708129328" sldId="2147310004"/>
            <ac:spMk id="76" creationId="{38FF9EF2-B608-4053-6F48-E8B323F6B97A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13.851" v="77"/>
        <pc:sldMkLst>
          <pc:docMk/>
          <pc:sldMk cId="3859250616" sldId="2147310010"/>
        </pc:sldMkLst>
        <pc:spChg chg="add mod">
          <ac:chgData name="Luis Fernando Díaz del Olmo Campo" userId="c0dc18b8-e099-44a1-9084-0ad0746d0f06" providerId="ADAL" clId="{C4ACD785-B8BC-454B-BF69-A671C8321816}" dt="2024-05-14T18:44:13.851" v="77"/>
          <ac:spMkLst>
            <pc:docMk/>
            <pc:sldMk cId="3859250616" sldId="2147310010"/>
            <ac:spMk id="3" creationId="{A1CFEE74-B43F-8803-557E-FB7D639BE7F0}"/>
          </ac:spMkLst>
        </pc:spChg>
        <pc:spChg chg="del">
          <ac:chgData name="Luis Fernando Díaz del Olmo Campo" userId="c0dc18b8-e099-44a1-9084-0ad0746d0f06" providerId="ADAL" clId="{C4ACD785-B8BC-454B-BF69-A671C8321816}" dt="2024-05-14T18:44:13.549" v="76" actId="478"/>
          <ac:spMkLst>
            <pc:docMk/>
            <pc:sldMk cId="3859250616" sldId="2147310010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13.851" v="77"/>
          <ac:spMkLst>
            <pc:docMk/>
            <pc:sldMk cId="3859250616" sldId="2147310010"/>
            <ac:spMk id="9" creationId="{7F48730C-2488-C405-F9D1-CD6DC962FDC5}"/>
          </ac:spMkLst>
        </pc:spChg>
        <pc:spChg chg="del">
          <ac:chgData name="Luis Fernando Díaz del Olmo Campo" userId="c0dc18b8-e099-44a1-9084-0ad0746d0f06" providerId="ADAL" clId="{C4ACD785-B8BC-454B-BF69-A671C8321816}" dt="2024-05-14T18:44:13.549" v="76" actId="478"/>
          <ac:spMkLst>
            <pc:docMk/>
            <pc:sldMk cId="3859250616" sldId="2147310010"/>
            <ac:spMk id="10" creationId="{18A19728-7FC4-5C05-55EE-A145DEFAFF86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19.069" v="79"/>
        <pc:sldMkLst>
          <pc:docMk/>
          <pc:sldMk cId="659418568" sldId="2147310011"/>
        </pc:sldMkLst>
        <pc:spChg chg="del">
          <ac:chgData name="Luis Fernando Díaz del Olmo Campo" userId="c0dc18b8-e099-44a1-9084-0ad0746d0f06" providerId="ADAL" clId="{C4ACD785-B8BC-454B-BF69-A671C8321816}" dt="2024-05-14T18:44:18.738" v="78" actId="478"/>
          <ac:spMkLst>
            <pc:docMk/>
            <pc:sldMk cId="659418568" sldId="2147310011"/>
            <ac:spMk id="3" creationId="{9BEA4A11-3AC9-A436-C953-6618AE54CAC8}"/>
          </ac:spMkLst>
        </pc:spChg>
        <pc:spChg chg="add mod">
          <ac:chgData name="Luis Fernando Díaz del Olmo Campo" userId="c0dc18b8-e099-44a1-9084-0ad0746d0f06" providerId="ADAL" clId="{C4ACD785-B8BC-454B-BF69-A671C8321816}" dt="2024-05-14T18:44:19.069" v="79"/>
          <ac:spMkLst>
            <pc:docMk/>
            <pc:sldMk cId="659418568" sldId="2147310011"/>
            <ac:spMk id="4" creationId="{E728A19B-24A0-9CF3-84A8-2A802965AD4F}"/>
          </ac:spMkLst>
        </pc:spChg>
        <pc:spChg chg="del">
          <ac:chgData name="Luis Fernando Díaz del Olmo Campo" userId="c0dc18b8-e099-44a1-9084-0ad0746d0f06" providerId="ADAL" clId="{C4ACD785-B8BC-454B-BF69-A671C8321816}" dt="2024-05-14T18:44:18.738" v="78" actId="478"/>
          <ac:spMkLst>
            <pc:docMk/>
            <pc:sldMk cId="659418568" sldId="2147310011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19.069" v="79"/>
          <ac:spMkLst>
            <pc:docMk/>
            <pc:sldMk cId="659418568" sldId="2147310011"/>
            <ac:spMk id="9" creationId="{C0FFB760-A356-3D4C-2D2A-D690E2761E4C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22.873" v="81"/>
        <pc:sldMkLst>
          <pc:docMk/>
          <pc:sldMk cId="1253964456" sldId="2147310012"/>
        </pc:sldMkLst>
        <pc:spChg chg="del">
          <ac:chgData name="Luis Fernando Díaz del Olmo Campo" userId="c0dc18b8-e099-44a1-9084-0ad0746d0f06" providerId="ADAL" clId="{C4ACD785-B8BC-454B-BF69-A671C8321816}" dt="2024-05-14T18:44:22.589" v="80" actId="478"/>
          <ac:spMkLst>
            <pc:docMk/>
            <pc:sldMk cId="1253964456" sldId="2147310012"/>
            <ac:spMk id="3" creationId="{9BEA4A11-3AC9-A436-C953-6618AE54CAC8}"/>
          </ac:spMkLst>
        </pc:spChg>
        <pc:spChg chg="del">
          <ac:chgData name="Luis Fernando Díaz del Olmo Campo" userId="c0dc18b8-e099-44a1-9084-0ad0746d0f06" providerId="ADAL" clId="{C4ACD785-B8BC-454B-BF69-A671C8321816}" dt="2024-05-14T18:44:22.589" v="80" actId="478"/>
          <ac:spMkLst>
            <pc:docMk/>
            <pc:sldMk cId="1253964456" sldId="2147310012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22.873" v="81"/>
          <ac:spMkLst>
            <pc:docMk/>
            <pc:sldMk cId="1253964456" sldId="2147310012"/>
            <ac:spMk id="9" creationId="{5F28475F-611E-E95A-871A-324593B89C46}"/>
          </ac:spMkLst>
        </pc:spChg>
        <pc:spChg chg="add mod">
          <ac:chgData name="Luis Fernando Díaz del Olmo Campo" userId="c0dc18b8-e099-44a1-9084-0ad0746d0f06" providerId="ADAL" clId="{C4ACD785-B8BC-454B-BF69-A671C8321816}" dt="2024-05-14T18:44:22.873" v="81"/>
          <ac:spMkLst>
            <pc:docMk/>
            <pc:sldMk cId="1253964456" sldId="2147310012"/>
            <ac:spMk id="12" creationId="{FE379436-3C2B-ECF8-7DC1-0353F355EBEF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4:27.223" v="83"/>
        <pc:sldMkLst>
          <pc:docMk/>
          <pc:sldMk cId="3220162634" sldId="2147310013"/>
        </pc:sldMkLst>
        <pc:spChg chg="del">
          <ac:chgData name="Luis Fernando Díaz del Olmo Campo" userId="c0dc18b8-e099-44a1-9084-0ad0746d0f06" providerId="ADAL" clId="{C4ACD785-B8BC-454B-BF69-A671C8321816}" dt="2024-05-14T18:44:26.814" v="82" actId="478"/>
          <ac:spMkLst>
            <pc:docMk/>
            <pc:sldMk cId="3220162634" sldId="2147310013"/>
            <ac:spMk id="3" creationId="{9BEA4A11-3AC9-A436-C953-6618AE54CAC8}"/>
          </ac:spMkLst>
        </pc:spChg>
        <pc:spChg chg="del">
          <ac:chgData name="Luis Fernando Díaz del Olmo Campo" userId="c0dc18b8-e099-44a1-9084-0ad0746d0f06" providerId="ADAL" clId="{C4ACD785-B8BC-454B-BF69-A671C8321816}" dt="2024-05-14T18:44:26.814" v="82" actId="478"/>
          <ac:spMkLst>
            <pc:docMk/>
            <pc:sldMk cId="3220162634" sldId="2147310013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27.223" v="83"/>
          <ac:spMkLst>
            <pc:docMk/>
            <pc:sldMk cId="3220162634" sldId="2147310013"/>
            <ac:spMk id="10" creationId="{8256C77C-5542-A013-C385-BF7095C1BA91}"/>
          </ac:spMkLst>
        </pc:spChg>
        <pc:spChg chg="add mod">
          <ac:chgData name="Luis Fernando Díaz del Olmo Campo" userId="c0dc18b8-e099-44a1-9084-0ad0746d0f06" providerId="ADAL" clId="{C4ACD785-B8BC-454B-BF69-A671C8321816}" dt="2024-05-14T18:44:27.223" v="83"/>
          <ac:spMkLst>
            <pc:docMk/>
            <pc:sldMk cId="3220162634" sldId="2147310013"/>
            <ac:spMk id="11" creationId="{FF69077B-57F4-DFB8-2134-FB9330A1FB96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7:59.772" v="278" actId="478"/>
        <pc:sldMkLst>
          <pc:docMk/>
          <pc:sldMk cId="2375878413" sldId="2147310015"/>
        </pc:sldMkLst>
        <pc:spChg chg="del mod">
          <ac:chgData name="Luis Fernando Díaz del Olmo Campo" userId="c0dc18b8-e099-44a1-9084-0ad0746d0f06" providerId="ADAL" clId="{C4ACD785-B8BC-454B-BF69-A671C8321816}" dt="2024-05-14T18:47:59.772" v="278" actId="478"/>
          <ac:spMkLst>
            <pc:docMk/>
            <pc:sldMk cId="2375878413" sldId="2147310015"/>
            <ac:spMk id="2" creationId="{B69CE8D9-C56E-D8EE-E529-AAAE8056EDE1}"/>
          </ac:spMkLst>
        </pc:spChg>
        <pc:spChg chg="del">
          <ac:chgData name="Luis Fernando Díaz del Olmo Campo" userId="c0dc18b8-e099-44a1-9084-0ad0746d0f06" providerId="ADAL" clId="{C4ACD785-B8BC-454B-BF69-A671C8321816}" dt="2024-05-14T18:43:22.315" v="66" actId="478"/>
          <ac:spMkLst>
            <pc:docMk/>
            <pc:sldMk cId="2375878413" sldId="2147310015"/>
            <ac:spMk id="3" creationId="{9BEA4A11-3AC9-A436-C953-6618AE54CAC8}"/>
          </ac:spMkLst>
        </pc:spChg>
        <pc:spChg chg="add mod">
          <ac:chgData name="Luis Fernando Díaz del Olmo Campo" userId="c0dc18b8-e099-44a1-9084-0ad0746d0f06" providerId="ADAL" clId="{C4ACD785-B8BC-454B-BF69-A671C8321816}" dt="2024-05-14T18:43:22.570" v="67"/>
          <ac:spMkLst>
            <pc:docMk/>
            <pc:sldMk cId="2375878413" sldId="2147310015"/>
            <ac:spMk id="4" creationId="{2B29ED1F-A112-FCB3-5F83-AC67B9711652}"/>
          </ac:spMkLst>
        </pc:spChg>
        <pc:spChg chg="del">
          <ac:chgData name="Luis Fernando Díaz del Olmo Campo" userId="c0dc18b8-e099-44a1-9084-0ad0746d0f06" providerId="ADAL" clId="{C4ACD785-B8BC-454B-BF69-A671C8321816}" dt="2024-05-14T18:43:22.315" v="66" actId="478"/>
          <ac:spMkLst>
            <pc:docMk/>
            <pc:sldMk cId="2375878413" sldId="2147310015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3:22.570" v="67"/>
          <ac:spMkLst>
            <pc:docMk/>
            <pc:sldMk cId="2375878413" sldId="2147310015"/>
            <ac:spMk id="6" creationId="{582C7234-C0AD-722A-E7E5-06D0D9176C69}"/>
          </ac:spMkLst>
        </pc:spChg>
        <pc:spChg chg="add mod">
          <ac:chgData name="Luis Fernando Díaz del Olmo Campo" userId="c0dc18b8-e099-44a1-9084-0ad0746d0f06" providerId="ADAL" clId="{C4ACD785-B8BC-454B-BF69-A671C8321816}" dt="2024-05-14T18:47:57.319" v="277" actId="20577"/>
          <ac:spMkLst>
            <pc:docMk/>
            <pc:sldMk cId="2375878413" sldId="2147310015"/>
            <ac:spMk id="7" creationId="{F1413F3C-CE63-91A8-6637-6842EC5BA272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7:31.520" v="214" actId="20577"/>
        <pc:sldMkLst>
          <pc:docMk/>
          <pc:sldMk cId="649892551" sldId="2147310016"/>
        </pc:sldMkLst>
        <pc:spChg chg="mod">
          <ac:chgData name="Luis Fernando Díaz del Olmo Campo" userId="c0dc18b8-e099-44a1-9084-0ad0746d0f06" providerId="ADAL" clId="{C4ACD785-B8BC-454B-BF69-A671C8321816}" dt="2024-05-14T18:42:50.451" v="57" actId="404"/>
          <ac:spMkLst>
            <pc:docMk/>
            <pc:sldMk cId="649892551" sldId="2147310016"/>
            <ac:spMk id="2" creationId="{3C12096B-9E7A-0D4C-154D-0B4BF31FA39E}"/>
          </ac:spMkLst>
        </pc:spChg>
        <pc:spChg chg="mod">
          <ac:chgData name="Luis Fernando Díaz del Olmo Campo" userId="c0dc18b8-e099-44a1-9084-0ad0746d0f06" providerId="ADAL" clId="{C4ACD785-B8BC-454B-BF69-A671C8321816}" dt="2024-05-14T18:46:49.184" v="164" actId="1035"/>
          <ac:spMkLst>
            <pc:docMk/>
            <pc:sldMk cId="649892551" sldId="2147310016"/>
            <ac:spMk id="5" creationId="{AEB2268A-FF5D-AB3A-5EC5-E400010B3A38}"/>
          </ac:spMkLst>
        </pc:spChg>
        <pc:spChg chg="del">
          <ac:chgData name="Luis Fernando Díaz del Olmo Campo" userId="c0dc18b8-e099-44a1-9084-0ad0746d0f06" providerId="ADAL" clId="{C4ACD785-B8BC-454B-BF69-A671C8321816}" dt="2024-05-14T18:47:18.197" v="206" actId="478"/>
          <ac:spMkLst>
            <pc:docMk/>
            <pc:sldMk cId="649892551" sldId="2147310016"/>
            <ac:spMk id="6" creationId="{2467435A-0A33-AAA8-2496-48A5855F1A63}"/>
          </ac:spMkLst>
        </pc:spChg>
        <pc:spChg chg="mod">
          <ac:chgData name="Luis Fernando Díaz del Olmo Campo" userId="c0dc18b8-e099-44a1-9084-0ad0746d0f06" providerId="ADAL" clId="{C4ACD785-B8BC-454B-BF69-A671C8321816}" dt="2024-05-14T18:42:50.451" v="57" actId="404"/>
          <ac:spMkLst>
            <pc:docMk/>
            <pc:sldMk cId="649892551" sldId="2147310016"/>
            <ac:spMk id="8" creationId="{85069F25-79B5-7346-1BAC-27BA94EFE3AA}"/>
          </ac:spMkLst>
        </pc:spChg>
        <pc:spChg chg="add mod">
          <ac:chgData name="Luis Fernando Díaz del Olmo Campo" userId="c0dc18b8-e099-44a1-9084-0ad0746d0f06" providerId="ADAL" clId="{C4ACD785-B8BC-454B-BF69-A671C8321816}" dt="2024-05-14T18:47:31.520" v="214" actId="20577"/>
          <ac:spMkLst>
            <pc:docMk/>
            <pc:sldMk cId="649892551" sldId="2147310016"/>
            <ac:spMk id="11" creationId="{0FA3F142-40A5-149A-EFA0-D68F2A7B17C4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2" creationId="{956CA75A-A793-4117-D61C-FD6F0C9400E9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4" creationId="{AFB61B9C-09BF-1470-DD96-E4780C1E17FA}"/>
          </ac:spMkLst>
        </pc:spChg>
        <pc:spChg chg="mod">
          <ac:chgData name="Luis Fernando Díaz del Olmo Campo" userId="c0dc18b8-e099-44a1-9084-0ad0746d0f06" providerId="ADAL" clId="{C4ACD785-B8BC-454B-BF69-A671C8321816}" dt="2024-05-14T18:46:32.126" v="156" actId="1038"/>
          <ac:spMkLst>
            <pc:docMk/>
            <pc:sldMk cId="649892551" sldId="2147310016"/>
            <ac:spMk id="15" creationId="{5B4BB437-F9AF-F55B-3176-8018EA7C9534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6" creationId="{178D9C94-49E7-5487-BF04-FA8087FB8AAA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7" creationId="{EE5BAF0D-D7BA-5C19-F0BD-22F678954562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8" creationId="{615BE560-1241-148B-19F5-641757C8A875}"/>
          </ac:spMkLst>
        </pc:spChg>
        <pc:spChg chg="mod">
          <ac:chgData name="Luis Fernando Díaz del Olmo Campo" userId="c0dc18b8-e099-44a1-9084-0ad0746d0f06" providerId="ADAL" clId="{C4ACD785-B8BC-454B-BF69-A671C8321816}" dt="2024-05-14T18:46:27.216" v="143" actId="12789"/>
          <ac:spMkLst>
            <pc:docMk/>
            <pc:sldMk cId="649892551" sldId="2147310016"/>
            <ac:spMk id="19" creationId="{D3B4808C-38CD-12B9-6E56-C3185D901CE7}"/>
          </ac:spMkLst>
        </pc:spChg>
      </pc:sldChg>
      <pc:sldChg chg="addSp delSp modSp mod">
        <pc:chgData name="Luis Fernando Díaz del Olmo Campo" userId="c0dc18b8-e099-44a1-9084-0ad0746d0f06" providerId="ADAL" clId="{C4ACD785-B8BC-454B-BF69-A671C8321816}" dt="2024-05-14T18:48:29.214" v="324" actId="478"/>
        <pc:sldMkLst>
          <pc:docMk/>
          <pc:sldMk cId="2084330027" sldId="2147310017"/>
        </pc:sldMkLst>
        <pc:spChg chg="del mod">
          <ac:chgData name="Luis Fernando Díaz del Olmo Campo" userId="c0dc18b8-e099-44a1-9084-0ad0746d0f06" providerId="ADAL" clId="{C4ACD785-B8BC-454B-BF69-A671C8321816}" dt="2024-05-14T18:48:29.214" v="324" actId="478"/>
          <ac:spMkLst>
            <pc:docMk/>
            <pc:sldMk cId="2084330027" sldId="2147310017"/>
            <ac:spMk id="2" creationId="{B69CE8D9-C56E-D8EE-E529-AAAE8056EDE1}"/>
          </ac:spMkLst>
        </pc:spChg>
        <pc:spChg chg="del">
          <ac:chgData name="Luis Fernando Díaz del Olmo Campo" userId="c0dc18b8-e099-44a1-9084-0ad0746d0f06" providerId="ADAL" clId="{C4ACD785-B8BC-454B-BF69-A671C8321816}" dt="2024-05-14T18:44:01.551" v="72" actId="478"/>
          <ac:spMkLst>
            <pc:docMk/>
            <pc:sldMk cId="2084330027" sldId="2147310017"/>
            <ac:spMk id="3" creationId="{9BEA4A11-3AC9-A436-C953-6618AE54CAC8}"/>
          </ac:spMkLst>
        </pc:spChg>
        <pc:spChg chg="add mod">
          <ac:chgData name="Luis Fernando Díaz del Olmo Campo" userId="c0dc18b8-e099-44a1-9084-0ad0746d0f06" providerId="ADAL" clId="{C4ACD785-B8BC-454B-BF69-A671C8321816}" dt="2024-05-14T18:44:02.607" v="73"/>
          <ac:spMkLst>
            <pc:docMk/>
            <pc:sldMk cId="2084330027" sldId="2147310017"/>
            <ac:spMk id="4" creationId="{9DC67168-1E8C-A0B0-9779-944B8575A470}"/>
          </ac:spMkLst>
        </pc:spChg>
        <pc:spChg chg="del">
          <ac:chgData name="Luis Fernando Díaz del Olmo Campo" userId="c0dc18b8-e099-44a1-9084-0ad0746d0f06" providerId="ADAL" clId="{C4ACD785-B8BC-454B-BF69-A671C8321816}" dt="2024-05-14T18:44:01.551" v="72" actId="478"/>
          <ac:spMkLst>
            <pc:docMk/>
            <pc:sldMk cId="2084330027" sldId="2147310017"/>
            <ac:spMk id="5" creationId="{6B5ABE9F-F395-9748-6962-E0C5EAFEB166}"/>
          </ac:spMkLst>
        </pc:spChg>
        <pc:spChg chg="add mod">
          <ac:chgData name="Luis Fernando Díaz del Olmo Campo" userId="c0dc18b8-e099-44a1-9084-0ad0746d0f06" providerId="ADAL" clId="{C4ACD785-B8BC-454B-BF69-A671C8321816}" dt="2024-05-14T18:44:02.607" v="73"/>
          <ac:spMkLst>
            <pc:docMk/>
            <pc:sldMk cId="2084330027" sldId="2147310017"/>
            <ac:spMk id="7" creationId="{C4EE2EF6-AC75-5F7E-F608-43F0E406A575}"/>
          </ac:spMkLst>
        </pc:spChg>
        <pc:spChg chg="add mod">
          <ac:chgData name="Luis Fernando Díaz del Olmo Campo" userId="c0dc18b8-e099-44a1-9084-0ad0746d0f06" providerId="ADAL" clId="{C4ACD785-B8BC-454B-BF69-A671C8321816}" dt="2024-05-14T18:48:25.846" v="322" actId="20577"/>
          <ac:spMkLst>
            <pc:docMk/>
            <pc:sldMk cId="2084330027" sldId="2147310017"/>
            <ac:spMk id="8" creationId="{5129EA4E-E527-9532-61E7-C3FF28C3F410}"/>
          </ac:spMkLst>
        </pc:spChg>
        <pc:graphicFrameChg chg="mod">
          <ac:chgData name="Luis Fernando Díaz del Olmo Campo" userId="c0dc18b8-e099-44a1-9084-0ad0746d0f06" providerId="ADAL" clId="{C4ACD785-B8BC-454B-BF69-A671C8321816}" dt="2024-05-14T18:48:27.917" v="323" actId="1076"/>
          <ac:graphicFrameMkLst>
            <pc:docMk/>
            <pc:sldMk cId="2084330027" sldId="2147310017"/>
            <ac:graphicFrameMk id="9" creationId="{EE848D58-61B2-4933-A7BB-DB60E392EA8D}"/>
          </ac:graphicFrameMkLst>
        </pc:graphicFrameChg>
      </pc:sldChg>
      <pc:sldChg chg="addSp delSp modSp mod">
        <pc:chgData name="Luis Fernando Díaz del Olmo Campo" userId="c0dc18b8-e099-44a1-9084-0ad0746d0f06" providerId="ADAL" clId="{C4ACD785-B8BC-454B-BF69-A671C8321816}" dt="2024-05-14T18:44:32.278" v="85"/>
        <pc:sldMkLst>
          <pc:docMk/>
          <pc:sldMk cId="3746985532" sldId="2147310020"/>
        </pc:sldMkLst>
        <pc:spChg chg="del">
          <ac:chgData name="Luis Fernando Díaz del Olmo Campo" userId="c0dc18b8-e099-44a1-9084-0ad0746d0f06" providerId="ADAL" clId="{C4ACD785-B8BC-454B-BF69-A671C8321816}" dt="2024-05-14T18:44:31.884" v="84" actId="478"/>
          <ac:spMkLst>
            <pc:docMk/>
            <pc:sldMk cId="3746985532" sldId="2147310020"/>
            <ac:spMk id="3" creationId="{AE2CEF56-BFFC-BFFB-4AFA-B12DA2ACBFCB}"/>
          </ac:spMkLst>
        </pc:spChg>
        <pc:spChg chg="add mod">
          <ac:chgData name="Luis Fernando Díaz del Olmo Campo" userId="c0dc18b8-e099-44a1-9084-0ad0746d0f06" providerId="ADAL" clId="{C4ACD785-B8BC-454B-BF69-A671C8321816}" dt="2024-05-14T18:44:32.278" v="85"/>
          <ac:spMkLst>
            <pc:docMk/>
            <pc:sldMk cId="3746985532" sldId="2147310020"/>
            <ac:spMk id="4" creationId="{04431468-486B-D1EB-B7DA-F3991125FC17}"/>
          </ac:spMkLst>
        </pc:spChg>
        <pc:spChg chg="del">
          <ac:chgData name="Luis Fernando Díaz del Olmo Campo" userId="c0dc18b8-e099-44a1-9084-0ad0746d0f06" providerId="ADAL" clId="{C4ACD785-B8BC-454B-BF69-A671C8321816}" dt="2024-05-14T18:44:31.884" v="84" actId="478"/>
          <ac:spMkLst>
            <pc:docMk/>
            <pc:sldMk cId="3746985532" sldId="2147310020"/>
            <ac:spMk id="5" creationId="{A48E1AD7-6D03-1495-4709-0A90BDC27BF7}"/>
          </ac:spMkLst>
        </pc:spChg>
        <pc:spChg chg="add mod">
          <ac:chgData name="Luis Fernando Díaz del Olmo Campo" userId="c0dc18b8-e099-44a1-9084-0ad0746d0f06" providerId="ADAL" clId="{C4ACD785-B8BC-454B-BF69-A671C8321816}" dt="2024-05-14T18:44:32.278" v="85"/>
          <ac:spMkLst>
            <pc:docMk/>
            <pc:sldMk cId="3746985532" sldId="2147310020"/>
            <ac:spMk id="14" creationId="{3873D76F-4119-6C64-3A71-C82543184EED}"/>
          </ac:spMkLst>
        </pc:spChg>
      </pc:sldChg>
      <pc:sldChg chg="addSp delSp modSp mod modShow">
        <pc:chgData name="Luis Fernando Díaz del Olmo Campo" userId="c0dc18b8-e099-44a1-9084-0ad0746d0f06" providerId="ADAL" clId="{C4ACD785-B8BC-454B-BF69-A671C8321816}" dt="2024-05-14T20:30:54.694" v="480" actId="1076"/>
        <pc:sldMkLst>
          <pc:docMk/>
          <pc:sldMk cId="3518931128" sldId="2147310021"/>
        </pc:sldMkLst>
        <pc:spChg chg="mod">
          <ac:chgData name="Luis Fernando Díaz del Olmo Campo" userId="c0dc18b8-e099-44a1-9084-0ad0746d0f06" providerId="ADAL" clId="{C4ACD785-B8BC-454B-BF69-A671C8321816}" dt="2024-05-14T18:53:50.304" v="386" actId="1076"/>
          <ac:spMkLst>
            <pc:docMk/>
            <pc:sldMk cId="3518931128" sldId="2147310021"/>
            <ac:spMk id="18" creationId="{E6C6390B-0F9A-9735-DFAA-F8504DB559CA}"/>
          </ac:spMkLst>
        </pc:spChg>
        <pc:spChg chg="mod">
          <ac:chgData name="Luis Fernando Díaz del Olmo Campo" userId="c0dc18b8-e099-44a1-9084-0ad0746d0f06" providerId="ADAL" clId="{C4ACD785-B8BC-454B-BF69-A671C8321816}" dt="2024-05-14T18:53:50.304" v="386" actId="1076"/>
          <ac:spMkLst>
            <pc:docMk/>
            <pc:sldMk cId="3518931128" sldId="2147310021"/>
            <ac:spMk id="21" creationId="{6A776D25-752F-1FA0-9DCE-7376B0AA375E}"/>
          </ac:spMkLst>
        </pc:spChg>
        <pc:spChg chg="mod">
          <ac:chgData name="Luis Fernando Díaz del Olmo Campo" userId="c0dc18b8-e099-44a1-9084-0ad0746d0f06" providerId="ADAL" clId="{C4ACD785-B8BC-454B-BF69-A671C8321816}" dt="2024-05-14T18:51:11.156" v="371" actId="12789"/>
          <ac:spMkLst>
            <pc:docMk/>
            <pc:sldMk cId="3518931128" sldId="2147310021"/>
            <ac:spMk id="23" creationId="{A2F0130E-5D21-AA2F-F4B8-FBD74D83BDF4}"/>
          </ac:spMkLst>
        </pc:spChg>
        <pc:spChg chg="mod">
          <ac:chgData name="Luis Fernando Díaz del Olmo Campo" userId="c0dc18b8-e099-44a1-9084-0ad0746d0f06" providerId="ADAL" clId="{C4ACD785-B8BC-454B-BF69-A671C8321816}" dt="2024-05-14T18:51:11.156" v="371" actId="12789"/>
          <ac:spMkLst>
            <pc:docMk/>
            <pc:sldMk cId="3518931128" sldId="2147310021"/>
            <ac:spMk id="24" creationId="{06D07D7E-E057-A5E7-A195-75177076983A}"/>
          </ac:spMkLst>
        </pc:spChg>
        <pc:graphicFrameChg chg="mod">
          <ac:chgData name="Luis Fernando Díaz del Olmo Campo" userId="c0dc18b8-e099-44a1-9084-0ad0746d0f06" providerId="ADAL" clId="{C4ACD785-B8BC-454B-BF69-A671C8321816}" dt="2024-05-14T18:53:54.563" v="387" actId="14100"/>
          <ac:graphicFrameMkLst>
            <pc:docMk/>
            <pc:sldMk cId="3518931128" sldId="2147310021"/>
            <ac:graphicFrameMk id="9" creationId="{EE848D58-61B2-4933-A7BB-DB60E392EA8D}"/>
          </ac:graphicFrameMkLst>
        </pc:graphicFrameChg>
        <pc:graphicFrameChg chg="mod modGraphic">
          <ac:chgData name="Luis Fernando Díaz del Olmo Campo" userId="c0dc18b8-e099-44a1-9084-0ad0746d0f06" providerId="ADAL" clId="{C4ACD785-B8BC-454B-BF69-A671C8321816}" dt="2024-05-14T18:53:50.304" v="386" actId="1076"/>
          <ac:graphicFrameMkLst>
            <pc:docMk/>
            <pc:sldMk cId="3518931128" sldId="2147310021"/>
            <ac:graphicFrameMk id="11" creationId="{74D949B2-AD22-BD50-BD36-4F2424CE0D30}"/>
          </ac:graphicFrameMkLst>
        </pc:graphicFrameChg>
        <pc:graphicFrameChg chg="add del mod modGraphic">
          <ac:chgData name="Luis Fernando Díaz del Olmo Campo" userId="c0dc18b8-e099-44a1-9084-0ad0746d0f06" providerId="ADAL" clId="{C4ACD785-B8BC-454B-BF69-A671C8321816}" dt="2024-05-14T20:30:54.694" v="480" actId="1076"/>
          <ac:graphicFrameMkLst>
            <pc:docMk/>
            <pc:sldMk cId="3518931128" sldId="2147310021"/>
            <ac:graphicFrameMk id="12" creationId="{308F9166-4537-1F2C-37D1-FB72B5616ABA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1:11.156" v="371" actId="12789"/>
          <ac:graphicFrameMkLst>
            <pc:docMk/>
            <pc:sldMk cId="3518931128" sldId="2147310021"/>
            <ac:graphicFrameMk id="15" creationId="{DFCC1CC8-9C7E-E777-ACFE-1604DB07EED8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1:11.156" v="371" actId="12789"/>
          <ac:graphicFrameMkLst>
            <pc:docMk/>
            <pc:sldMk cId="3518931128" sldId="2147310021"/>
            <ac:graphicFrameMk id="16" creationId="{B8707EAE-9863-07CA-AA94-0008F5303C1A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3:50.304" v="386" actId="1076"/>
          <ac:graphicFrameMkLst>
            <pc:docMk/>
            <pc:sldMk cId="3518931128" sldId="2147310021"/>
            <ac:graphicFrameMk id="20" creationId="{1D37815E-6E06-C46C-175A-392B47B95304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1:55.375" v="376" actId="2711"/>
          <ac:graphicFrameMkLst>
            <pc:docMk/>
            <pc:sldMk cId="3518931128" sldId="2147310021"/>
            <ac:graphicFrameMk id="28" creationId="{4DC0704C-7EB4-4BF7-A0CF-FF0BBE31F4DD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1:59.586" v="377" actId="2711"/>
          <ac:graphicFrameMkLst>
            <pc:docMk/>
            <pc:sldMk cId="3518931128" sldId="2147310021"/>
            <ac:graphicFrameMk id="29" creationId="{C01F56F9-A316-448A-9A4A-BD0E8DE6E225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3:42.267" v="385" actId="1076"/>
          <ac:graphicFrameMkLst>
            <pc:docMk/>
            <pc:sldMk cId="3518931128" sldId="2147310021"/>
            <ac:graphicFrameMk id="30" creationId="{80518FF7-E91E-47DE-96AF-C763E7E0CF02}"/>
          </ac:graphicFrameMkLst>
        </pc:graphicFrameChg>
        <pc:graphicFrameChg chg="mod">
          <ac:chgData name="Luis Fernando Díaz del Olmo Campo" userId="c0dc18b8-e099-44a1-9084-0ad0746d0f06" providerId="ADAL" clId="{C4ACD785-B8BC-454B-BF69-A671C8321816}" dt="2024-05-14T18:53:39.303" v="384" actId="14100"/>
          <ac:graphicFrameMkLst>
            <pc:docMk/>
            <pc:sldMk cId="3518931128" sldId="2147310021"/>
            <ac:graphicFrameMk id="32" creationId="{77DE74BA-584F-402F-8D33-508233DC17CC}"/>
          </ac:graphicFrameMkLst>
        </pc:graphicFrameChg>
        <pc:cxnChg chg="add mod">
          <ac:chgData name="Luis Fernando Díaz del Olmo Campo" userId="c0dc18b8-e099-44a1-9084-0ad0746d0f06" providerId="ADAL" clId="{C4ACD785-B8BC-454B-BF69-A671C8321816}" dt="2024-05-14T18:58:59.889" v="460" actId="1036"/>
          <ac:cxnSpMkLst>
            <pc:docMk/>
            <pc:sldMk cId="3518931128" sldId="2147310021"/>
            <ac:cxnSpMk id="3" creationId="{595A6137-1F86-57EE-CAEB-C8F7664451C4}"/>
          </ac:cxnSpMkLst>
        </pc:cxnChg>
        <pc:cxnChg chg="add mod">
          <ac:chgData name="Luis Fernando Díaz del Olmo Campo" userId="c0dc18b8-e099-44a1-9084-0ad0746d0f06" providerId="ADAL" clId="{C4ACD785-B8BC-454B-BF69-A671C8321816}" dt="2024-05-14T18:59:04.987" v="462" actId="1076"/>
          <ac:cxnSpMkLst>
            <pc:docMk/>
            <pc:sldMk cId="3518931128" sldId="2147310021"/>
            <ac:cxnSpMk id="13" creationId="{F17151AD-9258-DD0C-B91F-876D50C71B4D}"/>
          </ac:cxnSpMkLst>
        </pc:cxnChg>
        <pc:cxnChg chg="add mod">
          <ac:chgData name="Luis Fernando Díaz del Olmo Campo" userId="c0dc18b8-e099-44a1-9084-0ad0746d0f06" providerId="ADAL" clId="{C4ACD785-B8BC-454B-BF69-A671C8321816}" dt="2024-05-14T18:59:17.943" v="471" actId="14100"/>
          <ac:cxnSpMkLst>
            <pc:docMk/>
            <pc:sldMk cId="3518931128" sldId="2147310021"/>
            <ac:cxnSpMk id="14" creationId="{014569C1-FD43-0AA9-C72F-C4A0436DE0E1}"/>
          </ac:cxnSpMkLst>
        </pc:cxnChg>
        <pc:cxnChg chg="add mod">
          <ac:chgData name="Luis Fernando Díaz del Olmo Campo" userId="c0dc18b8-e099-44a1-9084-0ad0746d0f06" providerId="ADAL" clId="{C4ACD785-B8BC-454B-BF69-A671C8321816}" dt="2024-05-14T18:59:27.415" v="477" actId="14100"/>
          <ac:cxnSpMkLst>
            <pc:docMk/>
            <pc:sldMk cId="3518931128" sldId="2147310021"/>
            <ac:cxnSpMk id="22" creationId="{0DE9856D-10A1-A733-AE58-C610A879EBD6}"/>
          </ac:cxnSpMkLst>
        </pc:cxnChg>
      </pc:sldChg>
    </pc:docChg>
  </pc:docChgLst>
  <pc:docChgLst>
    <pc:chgData name="Mary Cruz Portugal Fernandez" userId="5b2e4939-a7dc-4649-be3a-bb2844e519d6" providerId="ADAL" clId="{939DEDFB-26F4-4FE2-B596-69C43607773D}"/>
    <pc:docChg chg="undo custSel modSld">
      <pc:chgData name="Mary Cruz Portugal Fernandez" userId="5b2e4939-a7dc-4649-be3a-bb2844e519d6" providerId="ADAL" clId="{939DEDFB-26F4-4FE2-B596-69C43607773D}" dt="2024-08-12T16:59:03.241" v="444" actId="1076"/>
      <pc:docMkLst>
        <pc:docMk/>
      </pc:docMkLst>
      <pc:sldChg chg="addSp modSp mod modAnim">
        <pc:chgData name="Mary Cruz Portugal Fernandez" userId="5b2e4939-a7dc-4649-be3a-bb2844e519d6" providerId="ADAL" clId="{939DEDFB-26F4-4FE2-B596-69C43607773D}" dt="2024-08-12T16:22:08.976" v="91" actId="12788"/>
        <pc:sldMkLst>
          <pc:docMk/>
          <pc:sldMk cId="3859250616" sldId="2147310010"/>
        </pc:sldMkLst>
        <pc:spChg chg="mod">
          <ac:chgData name="Mary Cruz Portugal Fernandez" userId="5b2e4939-a7dc-4649-be3a-bb2844e519d6" providerId="ADAL" clId="{939DEDFB-26F4-4FE2-B596-69C43607773D}" dt="2024-08-12T15:57:46.710" v="7" actId="1076"/>
          <ac:spMkLst>
            <pc:docMk/>
            <pc:sldMk cId="3859250616" sldId="2147310010"/>
            <ac:spMk id="4" creationId="{7067248C-D7BB-C184-7999-60D7ACA0B5A6}"/>
          </ac:spMkLst>
        </pc:spChg>
        <pc:spChg chg="mod">
          <ac:chgData name="Mary Cruz Portugal Fernandez" userId="5b2e4939-a7dc-4649-be3a-bb2844e519d6" providerId="ADAL" clId="{939DEDFB-26F4-4FE2-B596-69C43607773D}" dt="2024-08-12T16:11:19.580" v="41" actId="1076"/>
          <ac:spMkLst>
            <pc:docMk/>
            <pc:sldMk cId="3859250616" sldId="2147310010"/>
            <ac:spMk id="5" creationId="{F4BE04F7-C72A-089C-779D-D1A62994E475}"/>
          </ac:spMkLst>
        </pc:spChg>
        <pc:spChg chg="add mod">
          <ac:chgData name="Mary Cruz Portugal Fernandez" userId="5b2e4939-a7dc-4649-be3a-bb2844e519d6" providerId="ADAL" clId="{939DEDFB-26F4-4FE2-B596-69C43607773D}" dt="2024-08-12T16:17:02.695" v="64" actId="571"/>
          <ac:spMkLst>
            <pc:docMk/>
            <pc:sldMk cId="3859250616" sldId="2147310010"/>
            <ac:spMk id="6" creationId="{D84DAA02-FFC1-AE14-04DC-65FDA5143184}"/>
          </ac:spMkLst>
        </pc:spChg>
        <pc:spChg chg="mod">
          <ac:chgData name="Mary Cruz Portugal Fernandez" userId="5b2e4939-a7dc-4649-be3a-bb2844e519d6" providerId="ADAL" clId="{939DEDFB-26F4-4FE2-B596-69C43607773D}" dt="2024-08-12T15:57:46.710" v="7" actId="1076"/>
          <ac:spMkLst>
            <pc:docMk/>
            <pc:sldMk cId="3859250616" sldId="2147310010"/>
            <ac:spMk id="8" creationId="{72BD4236-BA29-A902-3EC4-A71088D231CD}"/>
          </ac:spMkLst>
        </pc:spChg>
        <pc:spChg chg="mod">
          <ac:chgData name="Mary Cruz Portugal Fernandez" userId="5b2e4939-a7dc-4649-be3a-bb2844e519d6" providerId="ADAL" clId="{939DEDFB-26F4-4FE2-B596-69C43607773D}" dt="2024-08-12T16:19:17.743" v="73" actId="1076"/>
          <ac:spMkLst>
            <pc:docMk/>
            <pc:sldMk cId="3859250616" sldId="2147310010"/>
            <ac:spMk id="9" creationId="{7F48730C-2488-C405-F9D1-CD6DC962FDC5}"/>
          </ac:spMkLst>
        </pc:spChg>
        <pc:spChg chg="mod">
          <ac:chgData name="Mary Cruz Portugal Fernandez" userId="5b2e4939-a7dc-4649-be3a-bb2844e519d6" providerId="ADAL" clId="{939DEDFB-26F4-4FE2-B596-69C43607773D}" dt="2024-08-12T16:10:34.228" v="40" actId="1076"/>
          <ac:spMkLst>
            <pc:docMk/>
            <pc:sldMk cId="3859250616" sldId="2147310010"/>
            <ac:spMk id="11" creationId="{DC3BD483-F9C1-8DFE-E338-7EA0168F4F08}"/>
          </ac:spMkLst>
        </pc:spChg>
        <pc:spChg chg="mod">
          <ac:chgData name="Mary Cruz Portugal Fernandez" userId="5b2e4939-a7dc-4649-be3a-bb2844e519d6" providerId="ADAL" clId="{939DEDFB-26F4-4FE2-B596-69C43607773D}" dt="2024-08-12T16:11:19.580" v="41" actId="1076"/>
          <ac:spMkLst>
            <pc:docMk/>
            <pc:sldMk cId="3859250616" sldId="2147310010"/>
            <ac:spMk id="18" creationId="{759FCAA5-0F4B-EA09-2DB6-65D631756F27}"/>
          </ac:spMkLst>
        </pc:spChg>
        <pc:spChg chg="mod">
          <ac:chgData name="Mary Cruz Portugal Fernandez" userId="5b2e4939-a7dc-4649-be3a-bb2844e519d6" providerId="ADAL" clId="{939DEDFB-26F4-4FE2-B596-69C43607773D}" dt="2024-08-12T15:57:46.710" v="7" actId="1076"/>
          <ac:spMkLst>
            <pc:docMk/>
            <pc:sldMk cId="3859250616" sldId="2147310010"/>
            <ac:spMk id="20" creationId="{0024B762-D114-F046-5A8A-9FD72FB66685}"/>
          </ac:spMkLst>
        </pc:spChg>
        <pc:spChg chg="add mod">
          <ac:chgData name="Mary Cruz Portugal Fernandez" userId="5b2e4939-a7dc-4649-be3a-bb2844e519d6" providerId="ADAL" clId="{939DEDFB-26F4-4FE2-B596-69C43607773D}" dt="2024-08-12T16:17:02.695" v="64" actId="571"/>
          <ac:spMkLst>
            <pc:docMk/>
            <pc:sldMk cId="3859250616" sldId="2147310010"/>
            <ac:spMk id="25" creationId="{D8EE42EA-5681-F374-8F35-1030FCBAA1F4}"/>
          </ac:spMkLst>
        </pc:spChg>
        <pc:spChg chg="mod">
          <ac:chgData name="Mary Cruz Portugal Fernandez" userId="5b2e4939-a7dc-4649-be3a-bb2844e519d6" providerId="ADAL" clId="{939DEDFB-26F4-4FE2-B596-69C43607773D}" dt="2024-08-12T16:21:51.318" v="89" actId="12788"/>
          <ac:spMkLst>
            <pc:docMk/>
            <pc:sldMk cId="3859250616" sldId="2147310010"/>
            <ac:spMk id="29" creationId="{9E612E48-CE1B-7FB9-6928-7FE6C86D2C24}"/>
          </ac:spMkLst>
        </pc:spChg>
        <pc:spChg chg="mod">
          <ac:chgData name="Mary Cruz Portugal Fernandez" userId="5b2e4939-a7dc-4649-be3a-bb2844e519d6" providerId="ADAL" clId="{939DEDFB-26F4-4FE2-B596-69C43607773D}" dt="2024-08-12T16:21:51.318" v="89" actId="12788"/>
          <ac:spMkLst>
            <pc:docMk/>
            <pc:sldMk cId="3859250616" sldId="2147310010"/>
            <ac:spMk id="30" creationId="{DCF0A007-0AEE-ADB7-D809-50EC66EFE6AC}"/>
          </ac:spMkLst>
        </pc:spChg>
        <pc:spChg chg="mod">
          <ac:chgData name="Mary Cruz Portugal Fernandez" userId="5b2e4939-a7dc-4649-be3a-bb2844e519d6" providerId="ADAL" clId="{939DEDFB-26F4-4FE2-B596-69C43607773D}" dt="2024-08-12T16:21:51.318" v="89" actId="12788"/>
          <ac:spMkLst>
            <pc:docMk/>
            <pc:sldMk cId="3859250616" sldId="2147310010"/>
            <ac:spMk id="31" creationId="{28BE676D-5CC2-7F20-3CC6-4BDB091EDA7E}"/>
          </ac:spMkLst>
        </pc:spChg>
        <pc:spChg chg="mod">
          <ac:chgData name="Mary Cruz Portugal Fernandez" userId="5b2e4939-a7dc-4649-be3a-bb2844e519d6" providerId="ADAL" clId="{939DEDFB-26F4-4FE2-B596-69C43607773D}" dt="2024-08-12T16:21:51.318" v="89" actId="12788"/>
          <ac:spMkLst>
            <pc:docMk/>
            <pc:sldMk cId="3859250616" sldId="2147310010"/>
            <ac:spMk id="32" creationId="{7A9C8B5D-1A71-E70E-632F-36187B7C5D07}"/>
          </ac:spMkLst>
        </pc:spChg>
        <pc:spChg chg="mod">
          <ac:chgData name="Mary Cruz Portugal Fernandez" userId="5b2e4939-a7dc-4649-be3a-bb2844e519d6" providerId="ADAL" clId="{939DEDFB-26F4-4FE2-B596-69C43607773D}" dt="2024-08-12T16:17:15.210" v="65"/>
          <ac:spMkLst>
            <pc:docMk/>
            <pc:sldMk cId="3859250616" sldId="2147310010"/>
            <ac:spMk id="34" creationId="{A0C9E43F-39E3-3AC8-A120-077D7A1F1316}"/>
          </ac:spMkLst>
        </pc:spChg>
        <pc:spChg chg="mod">
          <ac:chgData name="Mary Cruz Portugal Fernandez" userId="5b2e4939-a7dc-4649-be3a-bb2844e519d6" providerId="ADAL" clId="{939DEDFB-26F4-4FE2-B596-69C43607773D}" dt="2024-08-12T16:22:08.976" v="91" actId="12788"/>
          <ac:spMkLst>
            <pc:docMk/>
            <pc:sldMk cId="3859250616" sldId="2147310010"/>
            <ac:spMk id="35" creationId="{32CA3136-FF6D-5641-F26D-AEDD60253547}"/>
          </ac:spMkLst>
        </pc:spChg>
        <pc:spChg chg="mod">
          <ac:chgData name="Mary Cruz Portugal Fernandez" userId="5b2e4939-a7dc-4649-be3a-bb2844e519d6" providerId="ADAL" clId="{939DEDFB-26F4-4FE2-B596-69C43607773D}" dt="2024-08-12T16:22:08.976" v="91" actId="12788"/>
          <ac:spMkLst>
            <pc:docMk/>
            <pc:sldMk cId="3859250616" sldId="2147310010"/>
            <ac:spMk id="36" creationId="{546A3460-1BED-122D-761A-E53D2365A58D}"/>
          </ac:spMkLst>
        </pc:spChg>
        <pc:spChg chg="mod">
          <ac:chgData name="Mary Cruz Portugal Fernandez" userId="5b2e4939-a7dc-4649-be3a-bb2844e519d6" providerId="ADAL" clId="{939DEDFB-26F4-4FE2-B596-69C43607773D}" dt="2024-08-12T16:22:08.976" v="91" actId="12788"/>
          <ac:spMkLst>
            <pc:docMk/>
            <pc:sldMk cId="3859250616" sldId="2147310010"/>
            <ac:spMk id="37" creationId="{51CED139-87E9-9DCC-2363-939FEEBFAB77}"/>
          </ac:spMkLst>
        </pc:spChg>
        <pc:spChg chg="mod">
          <ac:chgData name="Mary Cruz Portugal Fernandez" userId="5b2e4939-a7dc-4649-be3a-bb2844e519d6" providerId="ADAL" clId="{939DEDFB-26F4-4FE2-B596-69C43607773D}" dt="2024-08-12T16:21:13.249" v="85" actId="12788"/>
          <ac:spMkLst>
            <pc:docMk/>
            <pc:sldMk cId="3859250616" sldId="2147310010"/>
            <ac:spMk id="38" creationId="{E6674BF0-AF50-5180-15BC-078661131C1D}"/>
          </ac:spMkLst>
        </pc:spChg>
        <pc:spChg chg="mod">
          <ac:chgData name="Mary Cruz Portugal Fernandez" userId="5b2e4939-a7dc-4649-be3a-bb2844e519d6" providerId="ADAL" clId="{939DEDFB-26F4-4FE2-B596-69C43607773D}" dt="2024-08-12T16:21:13.249" v="85" actId="12788"/>
          <ac:spMkLst>
            <pc:docMk/>
            <pc:sldMk cId="3859250616" sldId="2147310010"/>
            <ac:spMk id="39" creationId="{C38CFC3E-EB9D-97B4-AA03-EDD10D516D5E}"/>
          </ac:spMkLst>
        </pc:spChg>
        <pc:spChg chg="mod">
          <ac:chgData name="Mary Cruz Portugal Fernandez" userId="5b2e4939-a7dc-4649-be3a-bb2844e519d6" providerId="ADAL" clId="{939DEDFB-26F4-4FE2-B596-69C43607773D}" dt="2024-08-12T16:21:13.249" v="85" actId="12788"/>
          <ac:spMkLst>
            <pc:docMk/>
            <pc:sldMk cId="3859250616" sldId="2147310010"/>
            <ac:spMk id="40" creationId="{45A087FC-AEA5-E6CE-5438-5987C45DC09A}"/>
          </ac:spMkLst>
        </pc:spChg>
        <pc:spChg chg="mod">
          <ac:chgData name="Mary Cruz Portugal Fernandez" userId="5b2e4939-a7dc-4649-be3a-bb2844e519d6" providerId="ADAL" clId="{939DEDFB-26F4-4FE2-B596-69C43607773D}" dt="2024-08-12T16:21:13.249" v="85" actId="12788"/>
          <ac:spMkLst>
            <pc:docMk/>
            <pc:sldMk cId="3859250616" sldId="2147310010"/>
            <ac:spMk id="41" creationId="{66CEA737-AF56-4A2D-DA24-6750F69C85BE}"/>
          </ac:spMkLst>
        </pc:spChg>
        <pc:spChg chg="add mod">
          <ac:chgData name="Mary Cruz Portugal Fernandez" userId="5b2e4939-a7dc-4649-be3a-bb2844e519d6" providerId="ADAL" clId="{939DEDFB-26F4-4FE2-B596-69C43607773D}" dt="2024-08-12T16:17:02.695" v="64" actId="571"/>
          <ac:spMkLst>
            <pc:docMk/>
            <pc:sldMk cId="3859250616" sldId="2147310010"/>
            <ac:spMk id="42" creationId="{76E9A687-70EE-C71D-D4C7-6259516B9B45}"/>
          </ac:spMkLst>
        </pc:spChg>
        <pc:spChg chg="add mod">
          <ac:chgData name="Mary Cruz Portugal Fernandez" userId="5b2e4939-a7dc-4649-be3a-bb2844e519d6" providerId="ADAL" clId="{939DEDFB-26F4-4FE2-B596-69C43607773D}" dt="2024-08-12T16:17:21.901" v="66" actId="571"/>
          <ac:spMkLst>
            <pc:docMk/>
            <pc:sldMk cId="3859250616" sldId="2147310010"/>
            <ac:spMk id="43" creationId="{DE055782-96B7-21A2-483E-A67B97E79C55}"/>
          </ac:spMkLst>
        </pc:spChg>
        <pc:spChg chg="add mod">
          <ac:chgData name="Mary Cruz Portugal Fernandez" userId="5b2e4939-a7dc-4649-be3a-bb2844e519d6" providerId="ADAL" clId="{939DEDFB-26F4-4FE2-B596-69C43607773D}" dt="2024-08-12T16:21:57.623" v="90" actId="12788"/>
          <ac:spMkLst>
            <pc:docMk/>
            <pc:sldMk cId="3859250616" sldId="2147310010"/>
            <ac:spMk id="44" creationId="{FE50AD01-E4E2-ED1B-030A-DA36DF3CE697}"/>
          </ac:spMkLst>
        </pc:spChg>
        <pc:spChg chg="add mod">
          <ac:chgData name="Mary Cruz Portugal Fernandez" userId="5b2e4939-a7dc-4649-be3a-bb2844e519d6" providerId="ADAL" clId="{939DEDFB-26F4-4FE2-B596-69C43607773D}" dt="2024-08-12T16:21:57.623" v="90" actId="12788"/>
          <ac:spMkLst>
            <pc:docMk/>
            <pc:sldMk cId="3859250616" sldId="2147310010"/>
            <ac:spMk id="45" creationId="{4666185B-786D-3044-5F61-D829B71537D4}"/>
          </ac:spMkLst>
        </pc:spChg>
        <pc:spChg chg="add mod">
          <ac:chgData name="Mary Cruz Portugal Fernandez" userId="5b2e4939-a7dc-4649-be3a-bb2844e519d6" providerId="ADAL" clId="{939DEDFB-26F4-4FE2-B596-69C43607773D}" dt="2024-08-12T16:21:57.623" v="90" actId="12788"/>
          <ac:spMkLst>
            <pc:docMk/>
            <pc:sldMk cId="3859250616" sldId="2147310010"/>
            <ac:spMk id="46" creationId="{4A16E8FE-02BE-8E1F-64A8-D21A6BCC75FC}"/>
          </ac:spMkLst>
        </pc:spChg>
        <pc:spChg chg="add mod">
          <ac:chgData name="Mary Cruz Portugal Fernandez" userId="5b2e4939-a7dc-4649-be3a-bb2844e519d6" providerId="ADAL" clId="{939DEDFB-26F4-4FE2-B596-69C43607773D}" dt="2024-08-12T16:21:28.648" v="86" actId="12788"/>
          <ac:spMkLst>
            <pc:docMk/>
            <pc:sldMk cId="3859250616" sldId="2147310010"/>
            <ac:spMk id="47" creationId="{6CD5143C-553C-5009-5652-817C335C518F}"/>
          </ac:spMkLst>
        </pc:spChg>
        <pc:spChg chg="add mod">
          <ac:chgData name="Mary Cruz Portugal Fernandez" userId="5b2e4939-a7dc-4649-be3a-bb2844e519d6" providerId="ADAL" clId="{939DEDFB-26F4-4FE2-B596-69C43607773D}" dt="2024-08-12T16:21:28.648" v="86" actId="12788"/>
          <ac:spMkLst>
            <pc:docMk/>
            <pc:sldMk cId="3859250616" sldId="2147310010"/>
            <ac:spMk id="48" creationId="{4FFA6144-529D-11A5-D0B0-53B94D0B6270}"/>
          </ac:spMkLst>
        </pc:spChg>
        <pc:spChg chg="add mod">
          <ac:chgData name="Mary Cruz Portugal Fernandez" userId="5b2e4939-a7dc-4649-be3a-bb2844e519d6" providerId="ADAL" clId="{939DEDFB-26F4-4FE2-B596-69C43607773D}" dt="2024-08-12T16:21:28.648" v="86" actId="12788"/>
          <ac:spMkLst>
            <pc:docMk/>
            <pc:sldMk cId="3859250616" sldId="2147310010"/>
            <ac:spMk id="50" creationId="{D8BD363D-6A6F-4EB5-06A8-0EE7E3B52B60}"/>
          </ac:spMkLst>
        </pc:spChg>
        <pc:spChg chg="add mod">
          <ac:chgData name="Mary Cruz Portugal Fernandez" userId="5b2e4939-a7dc-4649-be3a-bb2844e519d6" providerId="ADAL" clId="{939DEDFB-26F4-4FE2-B596-69C43607773D}" dt="2024-08-12T16:21:28.648" v="86" actId="12788"/>
          <ac:spMkLst>
            <pc:docMk/>
            <pc:sldMk cId="3859250616" sldId="2147310010"/>
            <ac:spMk id="60" creationId="{183D9D5A-19E3-D8C4-156C-2E7FD870FB48}"/>
          </ac:spMkLst>
        </pc:spChg>
        <pc:spChg chg="add mod">
          <ac:chgData name="Mary Cruz Portugal Fernandez" userId="5b2e4939-a7dc-4649-be3a-bb2844e519d6" providerId="ADAL" clId="{939DEDFB-26F4-4FE2-B596-69C43607773D}" dt="2024-08-12T16:20:03.906" v="83" actId="1076"/>
          <ac:spMkLst>
            <pc:docMk/>
            <pc:sldMk cId="3859250616" sldId="2147310010"/>
            <ac:spMk id="62" creationId="{693586A8-90F8-520F-7ABC-CBE0DDAA5B05}"/>
          </ac:spMkLst>
        </pc:spChg>
        <pc:spChg chg="add mod">
          <ac:chgData name="Mary Cruz Portugal Fernandez" userId="5b2e4939-a7dc-4649-be3a-bb2844e519d6" providerId="ADAL" clId="{939DEDFB-26F4-4FE2-B596-69C43607773D}" dt="2024-08-12T16:20:07.742" v="84" actId="571"/>
          <ac:spMkLst>
            <pc:docMk/>
            <pc:sldMk cId="3859250616" sldId="2147310010"/>
            <ac:spMk id="63" creationId="{D93A7900-9BFB-54FA-90CF-2D75AF1CF69E}"/>
          </ac:spMkLst>
        </pc:spChg>
        <pc:spChg chg="mod">
          <ac:chgData name="Mary Cruz Portugal Fernandez" userId="5b2e4939-a7dc-4649-be3a-bb2844e519d6" providerId="ADAL" clId="{939DEDFB-26F4-4FE2-B596-69C43607773D}" dt="2024-08-12T16:02:42.164" v="39" actId="14100"/>
          <ac:spMkLst>
            <pc:docMk/>
            <pc:sldMk cId="3859250616" sldId="2147310010"/>
            <ac:spMk id="95" creationId="{1E36C828-9251-7A0D-8548-438D1BC31F5A}"/>
          </ac:spMkLst>
        </pc:spChg>
        <pc:spChg chg="mod">
          <ac:chgData name="Mary Cruz Portugal Fernandez" userId="5b2e4939-a7dc-4649-be3a-bb2844e519d6" providerId="ADAL" clId="{939DEDFB-26F4-4FE2-B596-69C43607773D}" dt="2024-08-12T16:10:34.228" v="40" actId="1076"/>
          <ac:spMkLst>
            <pc:docMk/>
            <pc:sldMk cId="3859250616" sldId="2147310010"/>
            <ac:spMk id="99" creationId="{C0D5A59D-44DB-E684-9DB1-3A9CDE79691A}"/>
          </ac:spMkLst>
        </pc:spChg>
        <pc:spChg chg="mod">
          <ac:chgData name="Mary Cruz Portugal Fernandez" userId="5b2e4939-a7dc-4649-be3a-bb2844e519d6" providerId="ADAL" clId="{939DEDFB-26F4-4FE2-B596-69C43607773D}" dt="2024-08-12T16:02:06.900" v="36" actId="14100"/>
          <ac:spMkLst>
            <pc:docMk/>
            <pc:sldMk cId="3859250616" sldId="2147310010"/>
            <ac:spMk id="101" creationId="{F56E5407-E8CF-1457-A0E3-B6C96658378F}"/>
          </ac:spMkLst>
        </pc:spChg>
        <pc:spChg chg="mod">
          <ac:chgData name="Mary Cruz Portugal Fernandez" userId="5b2e4939-a7dc-4649-be3a-bb2844e519d6" providerId="ADAL" clId="{939DEDFB-26F4-4FE2-B596-69C43607773D}" dt="2024-08-12T16:02:24.763" v="37" actId="14100"/>
          <ac:spMkLst>
            <pc:docMk/>
            <pc:sldMk cId="3859250616" sldId="2147310010"/>
            <ac:spMk id="102" creationId="{80DD0410-EF02-293E-A16A-F38EC64F2229}"/>
          </ac:spMkLst>
        </pc:spChg>
        <pc:spChg chg="mod">
          <ac:chgData name="Mary Cruz Portugal Fernandez" userId="5b2e4939-a7dc-4649-be3a-bb2844e519d6" providerId="ADAL" clId="{939DEDFB-26F4-4FE2-B596-69C43607773D}" dt="2024-08-12T15:57:46.710" v="7" actId="1076"/>
          <ac:spMkLst>
            <pc:docMk/>
            <pc:sldMk cId="3859250616" sldId="2147310010"/>
            <ac:spMk id="105" creationId="{73D40486-DE55-3DA7-2940-6686DB4563A5}"/>
          </ac:spMkLst>
        </pc:spChg>
        <pc:spChg chg="mod">
          <ac:chgData name="Mary Cruz Portugal Fernandez" userId="5b2e4939-a7dc-4649-be3a-bb2844e519d6" providerId="ADAL" clId="{939DEDFB-26F4-4FE2-B596-69C43607773D}" dt="2024-08-12T16:10:34.228" v="40" actId="1076"/>
          <ac:spMkLst>
            <pc:docMk/>
            <pc:sldMk cId="3859250616" sldId="2147310010"/>
            <ac:spMk id="106" creationId="{72116619-BA42-BEBD-B68B-E4E2C0E492F0}"/>
          </ac:spMkLst>
        </pc:spChg>
        <pc:spChg chg="mod">
          <ac:chgData name="Mary Cruz Portugal Fernandez" userId="5b2e4939-a7dc-4649-be3a-bb2844e519d6" providerId="ADAL" clId="{939DEDFB-26F4-4FE2-B596-69C43607773D}" dt="2024-08-12T16:10:34.228" v="40" actId="1076"/>
          <ac:spMkLst>
            <pc:docMk/>
            <pc:sldMk cId="3859250616" sldId="2147310010"/>
            <ac:spMk id="128" creationId="{F2315BB7-FBF3-84B1-9E97-AF4A3D6EEAF1}"/>
          </ac:spMkLst>
        </pc:spChg>
        <pc:spChg chg="mod">
          <ac:chgData name="Mary Cruz Portugal Fernandez" userId="5b2e4939-a7dc-4649-be3a-bb2844e519d6" providerId="ADAL" clId="{939DEDFB-26F4-4FE2-B596-69C43607773D}" dt="2024-08-12T16:10:34.228" v="40" actId="1076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Mary Cruz Portugal Fernandez" userId="5b2e4939-a7dc-4649-be3a-bb2844e519d6" providerId="ADAL" clId="{939DEDFB-26F4-4FE2-B596-69C43607773D}" dt="2024-08-12T16:11:19.580" v="41" actId="1076"/>
          <ac:spMkLst>
            <pc:docMk/>
            <pc:sldMk cId="3859250616" sldId="2147310010"/>
            <ac:spMk id="130" creationId="{1C78E1CB-3E5F-962B-D1F3-2168A7EA4945}"/>
          </ac:spMkLst>
        </pc:spChg>
        <pc:grpChg chg="mod">
          <ac:chgData name="Mary Cruz Portugal Fernandez" userId="5b2e4939-a7dc-4649-be3a-bb2844e519d6" providerId="ADAL" clId="{939DEDFB-26F4-4FE2-B596-69C43607773D}" dt="2024-08-12T15:57:46.710" v="7" actId="1076"/>
          <ac:grpSpMkLst>
            <pc:docMk/>
            <pc:sldMk cId="3859250616" sldId="2147310010"/>
            <ac:grpSpMk id="19" creationId="{B63DE317-0B7F-07F3-02DC-C07F39DD420B}"/>
          </ac:grpSpMkLst>
        </pc:grpChg>
        <pc:grpChg chg="mod">
          <ac:chgData name="Mary Cruz Portugal Fernandez" userId="5b2e4939-a7dc-4649-be3a-bb2844e519d6" providerId="ADAL" clId="{939DEDFB-26F4-4FE2-B596-69C43607773D}" dt="2024-08-12T15:57:46.710" v="7" actId="1076"/>
          <ac:grpSpMkLst>
            <pc:docMk/>
            <pc:sldMk cId="3859250616" sldId="2147310010"/>
            <ac:grpSpMk id="56" creationId="{26C36EE6-18F1-C2AF-B99B-694EAD485BC0}"/>
          </ac:grpSpMkLst>
        </pc:grpChg>
        <pc:grpChg chg="mod">
          <ac:chgData name="Mary Cruz Portugal Fernandez" userId="5b2e4939-a7dc-4649-be3a-bb2844e519d6" providerId="ADAL" clId="{939DEDFB-26F4-4FE2-B596-69C43607773D}" dt="2024-08-12T15:57:46.710" v="7" actId="1076"/>
          <ac:grpSpMkLst>
            <pc:docMk/>
            <pc:sldMk cId="3859250616" sldId="2147310010"/>
            <ac:grpSpMk id="111" creationId="{528DFC98-4198-10D5-8D8E-A5F6039611C8}"/>
          </ac:grpSpMkLst>
        </pc:grpChg>
        <pc:graphicFrameChg chg="mod modGraphic">
          <ac:chgData name="Mary Cruz Portugal Fernandez" userId="5b2e4939-a7dc-4649-be3a-bb2844e519d6" providerId="ADAL" clId="{939DEDFB-26F4-4FE2-B596-69C43607773D}" dt="2024-08-12T16:15:40.417" v="47" actId="2057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00:47.204" v="26" actId="14100"/>
          <ac:graphicFrameMkLst>
            <pc:docMk/>
            <pc:sldMk cId="3859250616" sldId="2147310010"/>
            <ac:graphicFrameMk id="49" creationId="{88FCF8A2-08D8-B125-B8AF-5C065C1F1ADF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16:21.026" v="63" actId="20577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00:43.332" v="25" actId="14100"/>
          <ac:graphicFrameMkLst>
            <pc:docMk/>
            <pc:sldMk cId="3859250616" sldId="2147310010"/>
            <ac:graphicFrameMk id="72" creationId="{4A3A1DD2-0C93-56D8-AB9B-783B736DD38E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16:00.780" v="55" actId="20577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00:38.468" v="24" actId="14100"/>
          <ac:graphicFrameMkLst>
            <pc:docMk/>
            <pc:sldMk cId="3859250616" sldId="2147310010"/>
            <ac:graphicFrameMk id="76" creationId="{3125FE1B-2FDF-853D-752A-C7EBA35BC40E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01:54.100" v="35" actId="14100"/>
          <ac:graphicFrameMkLst>
            <pc:docMk/>
            <pc:sldMk cId="3859250616" sldId="2147310010"/>
            <ac:graphicFrameMk id="84" creationId="{0E4A6745-5BA5-C2F3-3FC1-BE781AD33559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00:53.187" v="27" actId="14100"/>
          <ac:graphicFrameMkLst>
            <pc:docMk/>
            <pc:sldMk cId="3859250616" sldId="2147310010"/>
            <ac:graphicFrameMk id="88" creationId="{AD4EB308-7E31-1D22-1686-947331237029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00:32.324" v="22" actId="14100"/>
          <ac:graphicFrameMkLst>
            <pc:docMk/>
            <pc:sldMk cId="3859250616" sldId="2147310010"/>
            <ac:graphicFrameMk id="110" creationId="{751A893B-CEB1-72E6-7813-28330BFF72D4}"/>
          </ac:graphicFrameMkLst>
        </pc:graphicFrameChg>
        <pc:cxnChg chg="mod">
          <ac:chgData name="Mary Cruz Portugal Fernandez" userId="5b2e4939-a7dc-4649-be3a-bb2844e519d6" providerId="ADAL" clId="{939DEDFB-26F4-4FE2-B596-69C43607773D}" dt="2024-08-12T15:57:46.710" v="7" actId="1076"/>
          <ac:cxnSpMkLst>
            <pc:docMk/>
            <pc:sldMk cId="3859250616" sldId="2147310010"/>
            <ac:cxnSpMk id="51" creationId="{C206E334-3B8E-C988-A1A2-955D965AC5FD}"/>
          </ac:cxnSpMkLst>
        </pc:cxnChg>
      </pc:sldChg>
      <pc:sldChg chg="addSp delSp modSp mod addAnim delAnim modAnim">
        <pc:chgData name="Mary Cruz Portugal Fernandez" userId="5b2e4939-a7dc-4649-be3a-bb2844e519d6" providerId="ADAL" clId="{939DEDFB-26F4-4FE2-B596-69C43607773D}" dt="2024-08-12T16:39:53.597" v="260" actId="12789"/>
        <pc:sldMkLst>
          <pc:docMk/>
          <pc:sldMk cId="659418568" sldId="2147310011"/>
        </pc:sldMkLst>
        <pc:spChg chg="mod">
          <ac:chgData name="Mary Cruz Portugal Fernandez" userId="5b2e4939-a7dc-4649-be3a-bb2844e519d6" providerId="ADAL" clId="{939DEDFB-26F4-4FE2-B596-69C43607773D}" dt="2024-08-12T16:39:53.597" v="260" actId="12789"/>
          <ac:spMkLst>
            <pc:docMk/>
            <pc:sldMk cId="659418568" sldId="2147310011"/>
            <ac:spMk id="3" creationId="{1B4FD9C1-A962-04BE-C074-5A0529AD491A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6" creationId="{4AA2FEB7-CD80-6AE4-C6D9-81B2257EFCC7}"/>
          </ac:spMkLst>
        </pc:spChg>
        <pc:spChg chg="mod">
          <ac:chgData name="Mary Cruz Portugal Fernandez" userId="5b2e4939-a7dc-4649-be3a-bb2844e519d6" providerId="ADAL" clId="{939DEDFB-26F4-4FE2-B596-69C43607773D}" dt="2024-08-12T16:38:43.421" v="253" actId="14100"/>
          <ac:spMkLst>
            <pc:docMk/>
            <pc:sldMk cId="659418568" sldId="2147310011"/>
            <ac:spMk id="11" creationId="{07C7B54A-55DA-D36E-82D3-76771CF774CD}"/>
          </ac:spMkLst>
        </pc:spChg>
        <pc:spChg chg="mod">
          <ac:chgData name="Mary Cruz Portugal Fernandez" userId="5b2e4939-a7dc-4649-be3a-bb2844e519d6" providerId="ADAL" clId="{939DEDFB-26F4-4FE2-B596-69C43607773D}" dt="2024-08-12T16:39:53.597" v="260" actId="12789"/>
          <ac:spMkLst>
            <pc:docMk/>
            <pc:sldMk cId="659418568" sldId="2147310011"/>
            <ac:spMk id="12" creationId="{04C36FAC-F871-DE21-B6D9-F5A07F7E7F4C}"/>
          </ac:spMkLst>
        </pc:spChg>
        <pc:spChg chg="mod">
          <ac:chgData name="Mary Cruz Portugal Fernandez" userId="5b2e4939-a7dc-4649-be3a-bb2844e519d6" providerId="ADAL" clId="{939DEDFB-26F4-4FE2-B596-69C43607773D}" dt="2024-08-12T16:31:09.753" v="193" actId="14100"/>
          <ac:spMkLst>
            <pc:docMk/>
            <pc:sldMk cId="659418568" sldId="2147310011"/>
            <ac:spMk id="21" creationId="{5B959601-DD31-4729-C9B0-B57914C14169}"/>
          </ac:spMkLst>
        </pc:spChg>
        <pc:spChg chg="mod">
          <ac:chgData name="Mary Cruz Portugal Fernandez" userId="5b2e4939-a7dc-4649-be3a-bb2844e519d6" providerId="ADAL" clId="{939DEDFB-26F4-4FE2-B596-69C43607773D}" dt="2024-08-12T16:32:00.966" v="197" actId="12788"/>
          <ac:spMkLst>
            <pc:docMk/>
            <pc:sldMk cId="659418568" sldId="2147310011"/>
            <ac:spMk id="23" creationId="{E0FF47B1-8469-1EE9-5512-8348A6530BFB}"/>
          </ac:spMkLst>
        </pc:spChg>
        <pc:spChg chg="mod">
          <ac:chgData name="Mary Cruz Portugal Fernandez" userId="5b2e4939-a7dc-4649-be3a-bb2844e519d6" providerId="ADAL" clId="{939DEDFB-26F4-4FE2-B596-69C43607773D}" dt="2024-08-12T16:29:00.146" v="152" actId="1076"/>
          <ac:spMkLst>
            <pc:docMk/>
            <pc:sldMk cId="659418568" sldId="2147310011"/>
            <ac:spMk id="27" creationId="{7CF16DB1-945A-B93B-67A6-671788ECD334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32" creationId="{1197E25B-6D3A-FEEF-63FC-F93F5DAC662D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33" creationId="{F090D38F-BBF0-7EC9-348C-458590DFAD1C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34" creationId="{D7B66142-E2A1-EFAB-C235-CC17401A26AB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35" creationId="{3975D2F2-F083-430C-348A-F55C5437C1D2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41" creationId="{E5B6D509-8378-1FDB-1DAC-8EE95CFE69B9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42" creationId="{FA630256-908A-47A7-0B3C-CC5CCD7CE89B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43" creationId="{3B15B858-C1A5-1793-CA78-0DE879D9C6EF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44" creationId="{1D90AD2E-9744-3EB5-8624-727926E869C4}"/>
          </ac:spMkLst>
        </pc:spChg>
        <pc:spChg chg="mod">
          <ac:chgData name="Mary Cruz Portugal Fernandez" userId="5b2e4939-a7dc-4649-be3a-bb2844e519d6" providerId="ADAL" clId="{939DEDFB-26F4-4FE2-B596-69C43607773D}" dt="2024-08-12T16:39:53.597" v="260" actId="12789"/>
          <ac:spMkLst>
            <pc:docMk/>
            <pc:sldMk cId="659418568" sldId="2147310011"/>
            <ac:spMk id="45" creationId="{5674DF94-190F-FDEF-9F40-EE89AC9ABEAE}"/>
          </ac:spMkLst>
        </pc:spChg>
        <pc:spChg chg="mod">
          <ac:chgData name="Mary Cruz Portugal Fernandez" userId="5b2e4939-a7dc-4649-be3a-bb2844e519d6" providerId="ADAL" clId="{939DEDFB-26F4-4FE2-B596-69C43607773D}" dt="2024-08-12T16:32:00.966" v="197" actId="12788"/>
          <ac:spMkLst>
            <pc:docMk/>
            <pc:sldMk cId="659418568" sldId="2147310011"/>
            <ac:spMk id="47" creationId="{D864349B-A24E-E590-7F85-D2322F43A251}"/>
          </ac:spMkLst>
        </pc:spChg>
        <pc:spChg chg="mod">
          <ac:chgData name="Mary Cruz Portugal Fernandez" userId="5b2e4939-a7dc-4649-be3a-bb2844e519d6" providerId="ADAL" clId="{939DEDFB-26F4-4FE2-B596-69C43607773D}" dt="2024-08-12T16:29:00.146" v="152" actId="1076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Mary Cruz Portugal Fernandez" userId="5b2e4939-a7dc-4649-be3a-bb2844e519d6" providerId="ADAL" clId="{939DEDFB-26F4-4FE2-B596-69C43607773D}" dt="2024-08-12T16:32:00.966" v="197" actId="12788"/>
          <ac:spMkLst>
            <pc:docMk/>
            <pc:sldMk cId="659418568" sldId="2147310011"/>
            <ac:spMk id="59" creationId="{D9BE4A94-9E97-702C-69ED-0318C72C47ED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63" creationId="{808D7264-E8C2-F7D6-E4CC-3F24952D838B}"/>
          </ac:spMkLst>
        </pc:spChg>
        <pc:spChg chg="mod">
          <ac:chgData name="Mary Cruz Portugal Fernandez" userId="5b2e4939-a7dc-4649-be3a-bb2844e519d6" providerId="ADAL" clId="{939DEDFB-26F4-4FE2-B596-69C43607773D}" dt="2024-08-12T16:29:00.146" v="152" actId="1076"/>
          <ac:spMkLst>
            <pc:docMk/>
            <pc:sldMk cId="659418568" sldId="2147310011"/>
            <ac:spMk id="69" creationId="{2CE55FB3-6E6B-F2B1-A24C-58E9F286C2FD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72" creationId="{06F9ED29-883D-C9D8-183F-B29F9395D605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75" creationId="{9733CD80-D714-49FE-47EE-3D3E202ECEE8}"/>
          </ac:spMkLst>
        </pc:spChg>
        <pc:spChg chg="mod">
          <ac:chgData name="Mary Cruz Portugal Fernandez" userId="5b2e4939-a7dc-4649-be3a-bb2844e519d6" providerId="ADAL" clId="{939DEDFB-26F4-4FE2-B596-69C43607773D}" dt="2024-08-12T16:30:53.362" v="182" actId="1076"/>
          <ac:spMkLst>
            <pc:docMk/>
            <pc:sldMk cId="659418568" sldId="2147310011"/>
            <ac:spMk id="76" creationId="{486AA1EF-B196-9E38-BC04-DFF376C6E289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77" creationId="{614A0839-65BF-434C-EB0A-86EFC57D7F18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78" creationId="{035F7BD7-45B4-B5E5-B6E3-1D44583DDB67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84" creationId="{FD6A32FC-D2B7-AF74-B7AC-86DE1EAB2B5C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86" creationId="{7CC92FE9-51BC-1942-E51D-0CE7E6EFD53A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90" creationId="{831133B5-D109-9EAE-0AD7-7B600CD623C4}"/>
          </ac:spMkLst>
        </pc:spChg>
        <pc:spChg chg="add mod">
          <ac:chgData name="Mary Cruz Portugal Fernandez" userId="5b2e4939-a7dc-4649-be3a-bb2844e519d6" providerId="ADAL" clId="{939DEDFB-26F4-4FE2-B596-69C43607773D}" dt="2024-08-12T16:35:01.915" v="238" actId="571"/>
          <ac:spMkLst>
            <pc:docMk/>
            <pc:sldMk cId="659418568" sldId="2147310011"/>
            <ac:spMk id="91" creationId="{B595DE90-29F8-9949-306A-3B0340419EE5}"/>
          </ac:spMkLst>
        </pc:spChg>
        <pc:spChg chg="mod">
          <ac:chgData name="Mary Cruz Portugal Fernandez" userId="5b2e4939-a7dc-4649-be3a-bb2844e519d6" providerId="ADAL" clId="{939DEDFB-26F4-4FE2-B596-69C43607773D}" dt="2024-08-12T16:39:53.597" v="260" actId="12789"/>
          <ac:spMkLst>
            <pc:docMk/>
            <pc:sldMk cId="659418568" sldId="2147310011"/>
            <ac:spMk id="118" creationId="{8AAB1D94-C0C6-6FCB-6008-C4FCEB139894}"/>
          </ac:spMkLst>
        </pc:spChg>
        <pc:spChg chg="mod">
          <ac:chgData name="Mary Cruz Portugal Fernandez" userId="5b2e4939-a7dc-4649-be3a-bb2844e519d6" providerId="ADAL" clId="{939DEDFB-26F4-4FE2-B596-69C43607773D}" dt="2024-08-12T16:39:53.597" v="260" actId="12789"/>
          <ac:spMkLst>
            <pc:docMk/>
            <pc:sldMk cId="659418568" sldId="2147310011"/>
            <ac:spMk id="119" creationId="{AC06A936-2599-19FB-4398-06FCF85BBDD5}"/>
          </ac:spMkLst>
        </pc:spChg>
        <pc:spChg chg="mod">
          <ac:chgData name="Mary Cruz Portugal Fernandez" userId="5b2e4939-a7dc-4649-be3a-bb2844e519d6" providerId="ADAL" clId="{939DEDFB-26F4-4FE2-B596-69C43607773D}" dt="2024-08-12T16:39:53.597" v="260" actId="12789"/>
          <ac:spMkLst>
            <pc:docMk/>
            <pc:sldMk cId="659418568" sldId="2147310011"/>
            <ac:spMk id="120" creationId="{F09A544A-7B25-744C-C46D-8A2CC920AEB1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22" creationId="{E89104C0-8DA9-4B6B-FD46-93C7B6A79F2B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23" creationId="{CB7A4622-3CE5-21EB-3C60-EA93803A11D5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24" creationId="{1D524A31-F741-B77C-D591-30714EAA67B9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25" creationId="{96BA60BA-11F0-FAD2-8AE5-6229FC2528A6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26" creationId="{33DDF545-5E9C-E071-90EF-E71F24F11E42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27" creationId="{F30A896D-63A8-80B1-8106-D66D4B58FAFA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28" creationId="{BC3588B7-D4AD-7939-E8D5-DD8AFDF8B68F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29" creationId="{79172AFB-947D-2F14-FD80-D3BD378274F0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30" creationId="{7D468A50-A4D3-301B-F6F1-9103304AD106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31" creationId="{F3D95B27-0A00-C45E-6487-1DF2D19C2813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32" creationId="{F7EF4ACC-6BA8-3797-7CD7-EE5E4E4B1231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33" creationId="{22C73346-2927-85C3-6FB4-3AC4D36D8E95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40" creationId="{4F068F3F-9E76-66BA-4846-4E6B85B8F246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41" creationId="{B6490465-2A9C-18DE-2555-F583944DD3F1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42" creationId="{1B55DD7C-5AE9-8502-56F1-D6CE08459CCE}"/>
          </ac:spMkLst>
        </pc:spChg>
        <pc:spChg chg="mod">
          <ac:chgData name="Mary Cruz Portugal Fernandez" userId="5b2e4939-a7dc-4649-be3a-bb2844e519d6" providerId="ADAL" clId="{939DEDFB-26F4-4FE2-B596-69C43607773D}" dt="2024-08-12T16:35:25.037" v="239" actId="1076"/>
          <ac:spMkLst>
            <pc:docMk/>
            <pc:sldMk cId="659418568" sldId="2147310011"/>
            <ac:spMk id="143" creationId="{5AE89221-AC48-6439-BB19-2A72F96FC45F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44" creationId="{31D381F6-8AB5-02F1-6C44-7AD31908D626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45" creationId="{39B0C544-8089-5A7E-E012-0AAA68030305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46" creationId="{EB021D5C-B678-A78B-903C-5D13B0E6A940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47" creationId="{631FDA4C-57EA-D6A4-F10D-20ECD8C85241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48" creationId="{B07793FA-498D-10CB-23F0-4C2173CB58E2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49" creationId="{143112CC-A4C8-2380-1409-B7DF3023A371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50" creationId="{C520050C-2508-A6B6-3F71-5E2415204C2C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51" creationId="{24D58256-818F-F528-C038-C7CF3B96EA71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52" creationId="{A336527A-F708-56D9-441C-A5B69C78D140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53" creationId="{0B91C4FC-6F7F-0135-C467-10FBA178FD02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54" creationId="{88DA8CBE-D1F8-6A22-DD63-5399CB74ACF1}"/>
          </ac:spMkLst>
        </pc:spChg>
        <pc:spChg chg="add mod">
          <ac:chgData name="Mary Cruz Portugal Fernandez" userId="5b2e4939-a7dc-4649-be3a-bb2844e519d6" providerId="ADAL" clId="{939DEDFB-26F4-4FE2-B596-69C43607773D}" dt="2024-08-12T16:35:00.346" v="237" actId="571"/>
          <ac:spMkLst>
            <pc:docMk/>
            <pc:sldMk cId="659418568" sldId="2147310011"/>
            <ac:spMk id="155" creationId="{18BDE0F3-E8D4-0BF0-B529-B4C837A5276D}"/>
          </ac:spMkLst>
        </pc:spChg>
        <pc:spChg chg="add mod">
          <ac:chgData name="Mary Cruz Portugal Fernandez" userId="5b2e4939-a7dc-4649-be3a-bb2844e519d6" providerId="ADAL" clId="{939DEDFB-26F4-4FE2-B596-69C43607773D}" dt="2024-08-12T16:35:32.595" v="240" actId="571"/>
          <ac:spMkLst>
            <pc:docMk/>
            <pc:sldMk cId="659418568" sldId="2147310011"/>
            <ac:spMk id="156" creationId="{D56C7A1C-B27C-98C3-D060-D4633A64F3D9}"/>
          </ac:spMkLst>
        </pc:spChg>
        <pc:spChg chg="add del mod">
          <ac:chgData name="Mary Cruz Portugal Fernandez" userId="5b2e4939-a7dc-4649-be3a-bb2844e519d6" providerId="ADAL" clId="{939DEDFB-26F4-4FE2-B596-69C43607773D}" dt="2024-08-12T16:38:08.912" v="245" actId="478"/>
          <ac:spMkLst>
            <pc:docMk/>
            <pc:sldMk cId="659418568" sldId="2147310011"/>
            <ac:spMk id="157" creationId="{D3F84466-D64F-E022-0341-3CEE8644C3A6}"/>
          </ac:spMkLst>
        </pc:spChg>
        <pc:spChg chg="add mod">
          <ac:chgData name="Mary Cruz Portugal Fernandez" userId="5b2e4939-a7dc-4649-be3a-bb2844e519d6" providerId="ADAL" clId="{939DEDFB-26F4-4FE2-B596-69C43607773D}" dt="2024-08-12T16:35:32.595" v="240" actId="571"/>
          <ac:spMkLst>
            <pc:docMk/>
            <pc:sldMk cId="659418568" sldId="2147310011"/>
            <ac:spMk id="158" creationId="{63921FC9-5E55-AAEC-83E1-F720E17C7852}"/>
          </ac:spMkLst>
        </pc:spChg>
        <pc:spChg chg="add mod">
          <ac:chgData name="Mary Cruz Portugal Fernandez" userId="5b2e4939-a7dc-4649-be3a-bb2844e519d6" providerId="ADAL" clId="{939DEDFB-26F4-4FE2-B596-69C43607773D}" dt="2024-08-12T16:35:32.595" v="240" actId="571"/>
          <ac:spMkLst>
            <pc:docMk/>
            <pc:sldMk cId="659418568" sldId="2147310011"/>
            <ac:spMk id="159" creationId="{760A26AF-57B4-147B-CC52-56CC36B08E32}"/>
          </ac:spMkLst>
        </pc:spChg>
        <pc:spChg chg="add mod">
          <ac:chgData name="Mary Cruz Portugal Fernandez" userId="5b2e4939-a7dc-4649-be3a-bb2844e519d6" providerId="ADAL" clId="{939DEDFB-26F4-4FE2-B596-69C43607773D}" dt="2024-08-12T16:36:17.141" v="241" actId="571"/>
          <ac:spMkLst>
            <pc:docMk/>
            <pc:sldMk cId="659418568" sldId="2147310011"/>
            <ac:spMk id="160" creationId="{0CC4B046-8664-B8D7-02B1-230A1CA094C7}"/>
          </ac:spMkLst>
        </pc:spChg>
        <pc:spChg chg="add mod">
          <ac:chgData name="Mary Cruz Portugal Fernandez" userId="5b2e4939-a7dc-4649-be3a-bb2844e519d6" providerId="ADAL" clId="{939DEDFB-26F4-4FE2-B596-69C43607773D}" dt="2024-08-12T16:36:17.141" v="241" actId="571"/>
          <ac:spMkLst>
            <pc:docMk/>
            <pc:sldMk cId="659418568" sldId="2147310011"/>
            <ac:spMk id="161" creationId="{3EBD8443-4B0A-2FEA-FC5A-2BF936A200C9}"/>
          </ac:spMkLst>
        </pc:spChg>
        <pc:spChg chg="add mod">
          <ac:chgData name="Mary Cruz Portugal Fernandez" userId="5b2e4939-a7dc-4649-be3a-bb2844e519d6" providerId="ADAL" clId="{939DEDFB-26F4-4FE2-B596-69C43607773D}" dt="2024-08-12T16:36:17.141" v="241" actId="571"/>
          <ac:spMkLst>
            <pc:docMk/>
            <pc:sldMk cId="659418568" sldId="2147310011"/>
            <ac:spMk id="162" creationId="{76BFE603-BFB7-0C4D-5493-7A32F772C42E}"/>
          </ac:spMkLst>
        </pc:spChg>
        <pc:spChg chg="add mod">
          <ac:chgData name="Mary Cruz Portugal Fernandez" userId="5b2e4939-a7dc-4649-be3a-bb2844e519d6" providerId="ADAL" clId="{939DEDFB-26F4-4FE2-B596-69C43607773D}" dt="2024-08-12T16:36:34.602" v="243" actId="1076"/>
          <ac:spMkLst>
            <pc:docMk/>
            <pc:sldMk cId="659418568" sldId="2147310011"/>
            <ac:spMk id="163" creationId="{51438FA0-3AEC-0CDD-9358-2E0315969674}"/>
          </ac:spMkLst>
        </pc:spChg>
        <pc:spChg chg="add mod">
          <ac:chgData name="Mary Cruz Portugal Fernandez" userId="5b2e4939-a7dc-4649-be3a-bb2844e519d6" providerId="ADAL" clId="{939DEDFB-26F4-4FE2-B596-69C43607773D}" dt="2024-08-12T16:37:31.293" v="244" actId="571"/>
          <ac:spMkLst>
            <pc:docMk/>
            <pc:sldMk cId="659418568" sldId="2147310011"/>
            <ac:spMk id="164" creationId="{3BE942CB-64FB-9C8B-73E6-262381A9F720}"/>
          </ac:spMkLst>
        </pc:spChg>
        <pc:spChg chg="add mod">
          <ac:chgData name="Mary Cruz Portugal Fernandez" userId="5b2e4939-a7dc-4649-be3a-bb2844e519d6" providerId="ADAL" clId="{939DEDFB-26F4-4FE2-B596-69C43607773D}" dt="2024-08-12T16:37:31.293" v="244" actId="571"/>
          <ac:spMkLst>
            <pc:docMk/>
            <pc:sldMk cId="659418568" sldId="2147310011"/>
            <ac:spMk id="165" creationId="{8FC787CB-9DE7-8DBC-3645-FAEB8D15493B}"/>
          </ac:spMkLst>
        </pc:spChg>
        <pc:spChg chg="add mod">
          <ac:chgData name="Mary Cruz Portugal Fernandez" userId="5b2e4939-a7dc-4649-be3a-bb2844e519d6" providerId="ADAL" clId="{939DEDFB-26F4-4FE2-B596-69C43607773D}" dt="2024-08-12T16:37:31.293" v="244" actId="571"/>
          <ac:spMkLst>
            <pc:docMk/>
            <pc:sldMk cId="659418568" sldId="2147310011"/>
            <ac:spMk id="166" creationId="{5C17BB7E-D67F-A985-307E-BEA2A105FC42}"/>
          </ac:spMkLst>
        </pc:spChg>
        <pc:spChg chg="add mod">
          <ac:chgData name="Mary Cruz Portugal Fernandez" userId="5b2e4939-a7dc-4649-be3a-bb2844e519d6" providerId="ADAL" clId="{939DEDFB-26F4-4FE2-B596-69C43607773D}" dt="2024-08-12T16:38:16.306" v="247" actId="1076"/>
          <ac:spMkLst>
            <pc:docMk/>
            <pc:sldMk cId="659418568" sldId="2147310011"/>
            <ac:spMk id="167" creationId="{9C46ADCC-111E-81F4-A5BB-44512D56DB54}"/>
          </ac:spMkLst>
        </pc:spChg>
        <pc:spChg chg="add del mod">
          <ac:chgData name="Mary Cruz Portugal Fernandez" userId="5b2e4939-a7dc-4649-be3a-bb2844e519d6" providerId="ADAL" clId="{939DEDFB-26F4-4FE2-B596-69C43607773D}" dt="2024-08-12T16:39:53.597" v="260" actId="12789"/>
          <ac:spMkLst>
            <pc:docMk/>
            <pc:sldMk cId="659418568" sldId="2147310011"/>
            <ac:spMk id="168" creationId="{79539F87-9E64-FFEB-7CD0-AB12F7918D6F}"/>
          </ac:spMkLst>
        </pc:spChg>
        <pc:grpChg chg="mod">
          <ac:chgData name="Mary Cruz Portugal Fernandez" userId="5b2e4939-a7dc-4649-be3a-bb2844e519d6" providerId="ADAL" clId="{939DEDFB-26F4-4FE2-B596-69C43607773D}" dt="2024-08-12T16:29:00.146" v="152" actId="1076"/>
          <ac:grpSpMkLst>
            <pc:docMk/>
            <pc:sldMk cId="659418568" sldId="2147310011"/>
            <ac:grpSpMk id="15" creationId="{D64C4FA5-BF9B-4CB0-A633-7699FF995123}"/>
          </ac:grpSpMkLst>
        </pc:grpChg>
        <pc:grpChg chg="mod">
          <ac:chgData name="Mary Cruz Portugal Fernandez" userId="5b2e4939-a7dc-4649-be3a-bb2844e519d6" providerId="ADAL" clId="{939DEDFB-26F4-4FE2-B596-69C43607773D}" dt="2024-08-12T16:30:52.462" v="179" actId="1076"/>
          <ac:grpSpMkLst>
            <pc:docMk/>
            <pc:sldMk cId="659418568" sldId="2147310011"/>
            <ac:grpSpMk id="49" creationId="{E66F7FBF-FECD-E554-AD22-C19BBA805E30}"/>
          </ac:grpSpMkLst>
        </pc:grpChg>
        <pc:grpChg chg="mod">
          <ac:chgData name="Mary Cruz Portugal Fernandez" userId="5b2e4939-a7dc-4649-be3a-bb2844e519d6" providerId="ADAL" clId="{939DEDFB-26F4-4FE2-B596-69C43607773D}" dt="2024-08-12T16:32:26.762" v="206" actId="1076"/>
          <ac:grpSpMkLst>
            <pc:docMk/>
            <pc:sldMk cId="659418568" sldId="2147310011"/>
            <ac:grpSpMk id="71" creationId="{FF7209EA-C8C0-A718-795F-D3F9E618D4F4}"/>
          </ac:grpSpMkLst>
        </pc:grpChg>
        <pc:graphicFrameChg chg="mod modGraphic">
          <ac:chgData name="Mary Cruz Portugal Fernandez" userId="5b2e4939-a7dc-4649-be3a-bb2844e519d6" providerId="ADAL" clId="{939DEDFB-26F4-4FE2-B596-69C43607773D}" dt="2024-08-12T16:32:06.482" v="200" actId="20577"/>
          <ac:graphicFrameMkLst>
            <pc:docMk/>
            <pc:sldMk cId="659418568" sldId="2147310011"/>
            <ac:graphicFrameMk id="8" creationId="{269AA73C-52E3-A76D-1E91-03A77131E48B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31:36.170" v="194" actId="1076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39:01.650" v="254" actId="1076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39:06.369" v="255" actId="1076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32:14.226" v="202" actId="14100"/>
          <ac:graphicFrameMkLst>
            <pc:docMk/>
            <pc:sldMk cId="659418568" sldId="2147310011"/>
            <ac:graphicFrameMk id="96" creationId="{224917DE-B69A-F649-8CCF-3F273E2DFDDC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32:34.426" v="207" actId="14100"/>
          <ac:graphicFrameMkLst>
            <pc:docMk/>
            <pc:sldMk cId="659418568" sldId="2147310011"/>
            <ac:graphicFrameMk id="99" creationId="{F80F6827-4F82-ED23-FE49-7A731F75170B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39:53.597" v="260" actId="12789"/>
          <ac:graphicFrameMkLst>
            <pc:docMk/>
            <pc:sldMk cId="659418568" sldId="2147310011"/>
            <ac:graphicFrameMk id="107" creationId="{017A39C5-03EE-0BE9-0CC0-2447E9BD8116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38:22.217" v="248" actId="14100"/>
          <ac:graphicFrameMkLst>
            <pc:docMk/>
            <pc:sldMk cId="659418568" sldId="2147310011"/>
            <ac:graphicFrameMk id="110" creationId="{9AACE07F-CD5C-FD7A-3F14-DE575D3AC3D1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34:02.962" v="234" actId="14100"/>
          <ac:graphicFrameMkLst>
            <pc:docMk/>
            <pc:sldMk cId="659418568" sldId="2147310011"/>
            <ac:graphicFrameMk id="121" creationId="{F552A0A9-1624-93C4-9CF1-D68410798AB2}"/>
          </ac:graphicFrameMkLst>
        </pc:graphicFrameChg>
        <pc:cxnChg chg="mod">
          <ac:chgData name="Mary Cruz Portugal Fernandez" userId="5b2e4939-a7dc-4649-be3a-bb2844e519d6" providerId="ADAL" clId="{939DEDFB-26F4-4FE2-B596-69C43607773D}" dt="2024-08-12T16:31:45.466" v="195" actId="1076"/>
          <ac:cxnSpMkLst>
            <pc:docMk/>
            <pc:sldMk cId="659418568" sldId="2147310011"/>
            <ac:cxnSpMk id="50" creationId="{AC2C4928-770F-4F0F-ED16-F4DA4132D4BB}"/>
          </ac:cxnSpMkLst>
        </pc:cxnChg>
        <pc:cxnChg chg="mod">
          <ac:chgData name="Mary Cruz Portugal Fernandez" userId="5b2e4939-a7dc-4649-be3a-bb2844e519d6" providerId="ADAL" clId="{939DEDFB-26F4-4FE2-B596-69C43607773D}" dt="2024-08-12T16:33:59.368" v="233" actId="1076"/>
          <ac:cxnSpMkLst>
            <pc:docMk/>
            <pc:sldMk cId="659418568" sldId="2147310011"/>
            <ac:cxnSpMk id="51" creationId="{C206E334-3B8E-C988-A1A2-955D965AC5FD}"/>
          </ac:cxnSpMkLst>
        </pc:cxnChg>
        <pc:cxnChg chg="mod">
          <ac:chgData name="Mary Cruz Portugal Fernandez" userId="5b2e4939-a7dc-4649-be3a-bb2844e519d6" providerId="ADAL" clId="{939DEDFB-26F4-4FE2-B596-69C43607773D}" dt="2024-08-12T16:30:52.708" v="180" actId="1076"/>
          <ac:cxnSpMkLst>
            <pc:docMk/>
            <pc:sldMk cId="659418568" sldId="2147310011"/>
            <ac:cxnSpMk id="62" creationId="{7B36099A-E565-13EE-8397-B196138F5BA3}"/>
          </ac:cxnSpMkLst>
        </pc:cxnChg>
        <pc:cxnChg chg="mod">
          <ac:chgData name="Mary Cruz Portugal Fernandez" userId="5b2e4939-a7dc-4649-be3a-bb2844e519d6" providerId="ADAL" clId="{939DEDFB-26F4-4FE2-B596-69C43607773D}" dt="2024-08-12T16:29:00.146" v="152" actId="1076"/>
          <ac:cxnSpMkLst>
            <pc:docMk/>
            <pc:sldMk cId="659418568" sldId="2147310011"/>
            <ac:cxnSpMk id="73" creationId="{3697CCAC-0E37-6A28-ED96-031DCEA4FC70}"/>
          </ac:cxnSpMkLst>
        </pc:cxnChg>
      </pc:sldChg>
      <pc:sldChg chg="addSp modSp mod modAnim">
        <pc:chgData name="Mary Cruz Portugal Fernandez" userId="5b2e4939-a7dc-4649-be3a-bb2844e519d6" providerId="ADAL" clId="{939DEDFB-26F4-4FE2-B596-69C43607773D}" dt="2024-08-12T16:46:25.854" v="328" actId="20577"/>
        <pc:sldMkLst>
          <pc:docMk/>
          <pc:sldMk cId="1253964456" sldId="2147310012"/>
        </pc:sldMkLst>
        <pc:spChg chg="mod">
          <ac:chgData name="Mary Cruz Portugal Fernandez" userId="5b2e4939-a7dc-4649-be3a-bb2844e519d6" providerId="ADAL" clId="{939DEDFB-26F4-4FE2-B596-69C43607773D}" dt="2024-08-12T16:41:02.841" v="271" actId="1076"/>
          <ac:spMkLst>
            <pc:docMk/>
            <pc:sldMk cId="1253964456" sldId="2147310012"/>
            <ac:spMk id="4" creationId="{4CFB68E7-01DD-37B7-6A57-4F8E9D57FA4A}"/>
          </ac:spMkLst>
        </pc:spChg>
        <pc:spChg chg="add mod">
          <ac:chgData name="Mary Cruz Portugal Fernandez" userId="5b2e4939-a7dc-4649-be3a-bb2844e519d6" providerId="ADAL" clId="{939DEDFB-26F4-4FE2-B596-69C43607773D}" dt="2024-08-12T16:41:42.258" v="282" actId="1076"/>
          <ac:spMkLst>
            <pc:docMk/>
            <pc:sldMk cId="1253964456" sldId="2147310012"/>
            <ac:spMk id="6" creationId="{21A5F693-8EE5-E174-7135-F806BEF4E86C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8" creationId="{48FA6392-943C-70EF-9D32-01F15962CFC3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10" creationId="{69FB36FE-1D00-899A-FA20-C8453DA91FDE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11" creationId="{49ED0FCD-5613-96D5-076D-A718AB6A8B28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14" creationId="{B1F93DCD-E9E3-897E-7C6E-82374D51B591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15" creationId="{D73CFB90-4150-B4F8-851D-EC3B542C1969}"/>
          </ac:spMkLst>
        </pc:spChg>
        <pc:spChg chg="mod">
          <ac:chgData name="Mary Cruz Portugal Fernandez" userId="5b2e4939-a7dc-4649-be3a-bb2844e519d6" providerId="ADAL" clId="{939DEDFB-26F4-4FE2-B596-69C43607773D}" dt="2024-08-12T16:41:02.841" v="271" actId="1076"/>
          <ac:spMkLst>
            <pc:docMk/>
            <pc:sldMk cId="1253964456" sldId="2147310012"/>
            <ac:spMk id="17" creationId="{89FE72E6-6CF0-FA38-C541-ACF691A16BEC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19" creationId="{758D576D-F9E2-9621-8DEB-E1A178609AC3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20" creationId="{FD4D415A-C477-B865-AF31-DE2AA49DE10E}"/>
          </ac:spMkLst>
        </pc:spChg>
        <pc:spChg chg="mod">
          <ac:chgData name="Mary Cruz Portugal Fernandez" userId="5b2e4939-a7dc-4649-be3a-bb2844e519d6" providerId="ADAL" clId="{939DEDFB-26F4-4FE2-B596-69C43607773D}" dt="2024-08-12T16:41:02.841" v="271" actId="1076"/>
          <ac:spMkLst>
            <pc:docMk/>
            <pc:sldMk cId="1253964456" sldId="2147310012"/>
            <ac:spMk id="28" creationId="{71384855-0396-A9B4-27BE-26F7E46581BD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29" creationId="{6B3361AF-38C6-2BB3-EBD1-85509DB8CC4E}"/>
          </ac:spMkLst>
        </pc:spChg>
        <pc:spChg chg="add mod">
          <ac:chgData name="Mary Cruz Portugal Fernandez" userId="5b2e4939-a7dc-4649-be3a-bb2844e519d6" providerId="ADAL" clId="{939DEDFB-26F4-4FE2-B596-69C43607773D}" dt="2024-08-12T16:42:09.180" v="283" actId="571"/>
          <ac:spMkLst>
            <pc:docMk/>
            <pc:sldMk cId="1253964456" sldId="2147310012"/>
            <ac:spMk id="43" creationId="{9BA8E4B3-8EF0-E943-ECB3-EC5A0AB4BD2C}"/>
          </ac:spMkLst>
        </pc:spChg>
        <pc:spChg chg="add mod">
          <ac:chgData name="Mary Cruz Portugal Fernandez" userId="5b2e4939-a7dc-4649-be3a-bb2844e519d6" providerId="ADAL" clId="{939DEDFB-26F4-4FE2-B596-69C43607773D}" dt="2024-08-12T16:42:09.180" v="283" actId="571"/>
          <ac:spMkLst>
            <pc:docMk/>
            <pc:sldMk cId="1253964456" sldId="2147310012"/>
            <ac:spMk id="44" creationId="{DF688B7E-E1C8-20FF-3A41-F452D08BF9B1}"/>
          </ac:spMkLst>
        </pc:spChg>
        <pc:spChg chg="add mod">
          <ac:chgData name="Mary Cruz Portugal Fernandez" userId="5b2e4939-a7dc-4649-be3a-bb2844e519d6" providerId="ADAL" clId="{939DEDFB-26F4-4FE2-B596-69C43607773D}" dt="2024-08-12T16:42:09.180" v="283" actId="571"/>
          <ac:spMkLst>
            <pc:docMk/>
            <pc:sldMk cId="1253964456" sldId="2147310012"/>
            <ac:spMk id="45" creationId="{90CE55CD-497A-37F0-6A7D-E08265B6E909}"/>
          </ac:spMkLst>
        </pc:spChg>
        <pc:spChg chg="add mod">
          <ac:chgData name="Mary Cruz Portugal Fernandez" userId="5b2e4939-a7dc-4649-be3a-bb2844e519d6" providerId="ADAL" clId="{939DEDFB-26F4-4FE2-B596-69C43607773D}" dt="2024-08-12T16:42:20.456" v="284" actId="571"/>
          <ac:spMkLst>
            <pc:docMk/>
            <pc:sldMk cId="1253964456" sldId="2147310012"/>
            <ac:spMk id="46" creationId="{7FB240D2-5841-AD77-5FDB-4683A50E8F9F}"/>
          </ac:spMkLst>
        </pc:spChg>
        <pc:spChg chg="mod">
          <ac:chgData name="Mary Cruz Portugal Fernandez" userId="5b2e4939-a7dc-4649-be3a-bb2844e519d6" providerId="ADAL" clId="{939DEDFB-26F4-4FE2-B596-69C43607773D}" dt="2024-08-12T16:41:02.841" v="271" actId="1076"/>
          <ac:spMkLst>
            <pc:docMk/>
            <pc:sldMk cId="1253964456" sldId="2147310012"/>
            <ac:spMk id="47" creationId="{2E57ADB3-7ACA-8883-51D0-B8068BEA1A53}"/>
          </ac:spMkLst>
        </pc:spChg>
        <pc:spChg chg="add mod">
          <ac:chgData name="Mary Cruz Portugal Fernandez" userId="5b2e4939-a7dc-4649-be3a-bb2844e519d6" providerId="ADAL" clId="{939DEDFB-26F4-4FE2-B596-69C43607773D}" dt="2024-08-12T16:42:36.937" v="286" actId="571"/>
          <ac:spMkLst>
            <pc:docMk/>
            <pc:sldMk cId="1253964456" sldId="2147310012"/>
            <ac:spMk id="49" creationId="{76FDD719-8354-166C-A62C-95C45F7D95BE}"/>
          </ac:spMkLst>
        </pc:spChg>
        <pc:spChg chg="add mod">
          <ac:chgData name="Mary Cruz Portugal Fernandez" userId="5b2e4939-a7dc-4649-be3a-bb2844e519d6" providerId="ADAL" clId="{939DEDFB-26F4-4FE2-B596-69C43607773D}" dt="2024-08-12T16:42:36.937" v="286" actId="571"/>
          <ac:spMkLst>
            <pc:docMk/>
            <pc:sldMk cId="1253964456" sldId="2147310012"/>
            <ac:spMk id="50" creationId="{764C8A41-40BC-6CEE-1D76-94EC4A2BA81E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52" creationId="{D3025A42-AB12-02DF-F704-5ED0E025B12F}"/>
          </ac:spMkLst>
        </pc:spChg>
        <pc:spChg chg="mod">
          <ac:chgData name="Mary Cruz Portugal Fernandez" userId="5b2e4939-a7dc-4649-be3a-bb2844e519d6" providerId="ADAL" clId="{939DEDFB-26F4-4FE2-B596-69C43607773D}" dt="2024-08-12T16:41:02.841" v="271" actId="1076"/>
          <ac:spMkLst>
            <pc:docMk/>
            <pc:sldMk cId="1253964456" sldId="2147310012"/>
            <ac:spMk id="53" creationId="{FA42AA40-A391-EC6A-40D7-8F46A9ED8DE4}"/>
          </ac:spMkLst>
        </pc:spChg>
        <pc:spChg chg="add mod">
          <ac:chgData name="Mary Cruz Portugal Fernandez" userId="5b2e4939-a7dc-4649-be3a-bb2844e519d6" providerId="ADAL" clId="{939DEDFB-26F4-4FE2-B596-69C43607773D}" dt="2024-08-12T16:42:36.937" v="286" actId="571"/>
          <ac:spMkLst>
            <pc:docMk/>
            <pc:sldMk cId="1253964456" sldId="2147310012"/>
            <ac:spMk id="54" creationId="{B03032F7-8147-1B82-F312-F13C0C0B4EA4}"/>
          </ac:spMkLst>
        </pc:spChg>
        <pc:spChg chg="add mod">
          <ac:chgData name="Mary Cruz Portugal Fernandez" userId="5b2e4939-a7dc-4649-be3a-bb2844e519d6" providerId="ADAL" clId="{939DEDFB-26F4-4FE2-B596-69C43607773D}" dt="2024-08-12T16:42:45.480" v="287" actId="571"/>
          <ac:spMkLst>
            <pc:docMk/>
            <pc:sldMk cId="1253964456" sldId="2147310012"/>
            <ac:spMk id="55" creationId="{66D21F0C-17DF-5524-D8B0-348DF0B39A75}"/>
          </ac:spMkLst>
        </pc:spChg>
        <pc:spChg chg="add mod">
          <ac:chgData name="Mary Cruz Portugal Fernandez" userId="5b2e4939-a7dc-4649-be3a-bb2844e519d6" providerId="ADAL" clId="{939DEDFB-26F4-4FE2-B596-69C43607773D}" dt="2024-08-12T16:42:45.480" v="287" actId="571"/>
          <ac:spMkLst>
            <pc:docMk/>
            <pc:sldMk cId="1253964456" sldId="2147310012"/>
            <ac:spMk id="56" creationId="{5ECDA41B-DBF0-E862-10E8-7F29E85DB828}"/>
          </ac:spMkLst>
        </pc:spChg>
        <pc:spChg chg="add mod">
          <ac:chgData name="Mary Cruz Portugal Fernandez" userId="5b2e4939-a7dc-4649-be3a-bb2844e519d6" providerId="ADAL" clId="{939DEDFB-26F4-4FE2-B596-69C43607773D}" dt="2024-08-12T16:42:45.480" v="287" actId="571"/>
          <ac:spMkLst>
            <pc:docMk/>
            <pc:sldMk cId="1253964456" sldId="2147310012"/>
            <ac:spMk id="57" creationId="{F96C8FA7-07F8-A13B-7DF0-D718B0DA8579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84" creationId="{347D0B40-3392-930E-7DBF-F067662C0920}"/>
          </ac:spMkLst>
        </pc:spChg>
        <pc:spChg chg="mod">
          <ac:chgData name="Mary Cruz Portugal Fernandez" userId="5b2e4939-a7dc-4649-be3a-bb2844e519d6" providerId="ADAL" clId="{939DEDFB-26F4-4FE2-B596-69C43607773D}" dt="2024-08-12T16:41:10.322" v="272" actId="1076"/>
          <ac:spMkLst>
            <pc:docMk/>
            <pc:sldMk cId="1253964456" sldId="2147310012"/>
            <ac:spMk id="85" creationId="{A190D0B4-92ED-1A31-8614-795A6D20A889}"/>
          </ac:spMkLst>
        </pc:spChg>
        <pc:grpChg chg="mod">
          <ac:chgData name="Mary Cruz Portugal Fernandez" userId="5b2e4939-a7dc-4649-be3a-bb2844e519d6" providerId="ADAL" clId="{939DEDFB-26F4-4FE2-B596-69C43607773D}" dt="2024-08-12T16:41:16.537" v="274" actId="1076"/>
          <ac:grpSpMkLst>
            <pc:docMk/>
            <pc:sldMk cId="1253964456" sldId="2147310012"/>
            <ac:grpSpMk id="71" creationId="{FF7209EA-C8C0-A718-795F-D3F9E618D4F4}"/>
          </ac:grpSpMkLst>
        </pc:grpChg>
        <pc:graphicFrameChg chg="mod modGraphic">
          <ac:chgData name="Mary Cruz Portugal Fernandez" userId="5b2e4939-a7dc-4649-be3a-bb2844e519d6" providerId="ADAL" clId="{939DEDFB-26F4-4FE2-B596-69C43607773D}" dt="2024-08-12T16:44:38.108" v="303" actId="404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add mod">
          <ac:chgData name="Mary Cruz Portugal Fernandez" userId="5b2e4939-a7dc-4649-be3a-bb2844e519d6" providerId="ADAL" clId="{939DEDFB-26F4-4FE2-B596-69C43607773D}" dt="2024-08-12T16:42:36.937" v="286" actId="571"/>
          <ac:graphicFrameMkLst>
            <pc:docMk/>
            <pc:sldMk cId="1253964456" sldId="2147310012"/>
            <ac:graphicFrameMk id="48" creationId="{630F21C7-5978-038B-2CF9-C6D9F9B91E83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46:14.258" v="325" actId="20577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45:54.519" v="313" actId="20577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41:34.449" v="280" actId="14100"/>
          <ac:graphicFrameMkLst>
            <pc:docMk/>
            <pc:sldMk cId="1253964456" sldId="2147310012"/>
            <ac:graphicFrameMk id="76" creationId="{77FF5062-77FE-063A-F3BF-E3BDA886374A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41:29.865" v="278" actId="14100"/>
          <ac:graphicFrameMkLst>
            <pc:docMk/>
            <pc:sldMk cId="1253964456" sldId="2147310012"/>
            <ac:graphicFrameMk id="79" creationId="{AE610A2F-1113-208E-6D2C-74575A226BCE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41:26.512" v="277" actId="14100"/>
          <ac:graphicFrameMkLst>
            <pc:docMk/>
            <pc:sldMk cId="1253964456" sldId="2147310012"/>
            <ac:graphicFrameMk id="93" creationId="{FC23B43C-5CDE-E746-BB68-17DF76019E26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46:25.854" v="328" actId="20577"/>
          <ac:graphicFrameMkLst>
            <pc:docMk/>
            <pc:sldMk cId="1253964456" sldId="2147310012"/>
            <ac:graphicFrameMk id="116" creationId="{3A0C57E6-135A-4CDE-2036-FCFC5749E4BD}"/>
          </ac:graphicFrameMkLst>
        </pc:graphicFrameChg>
        <pc:cxnChg chg="mod">
          <ac:chgData name="Mary Cruz Portugal Fernandez" userId="5b2e4939-a7dc-4649-be3a-bb2844e519d6" providerId="ADAL" clId="{939DEDFB-26F4-4FE2-B596-69C43607773D}" dt="2024-08-12T16:41:02.841" v="271" actId="1076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Mary Cruz Portugal Fernandez" userId="5b2e4939-a7dc-4649-be3a-bb2844e519d6" providerId="ADAL" clId="{939DEDFB-26F4-4FE2-B596-69C43607773D}" dt="2024-08-12T16:41:02.841" v="271" actId="1076"/>
          <ac:cxnSpMkLst>
            <pc:docMk/>
            <pc:sldMk cId="1253964456" sldId="2147310012"/>
            <ac:cxnSpMk id="26" creationId="{BAFC660C-DB27-024A-8264-141ACA3FE584}"/>
          </ac:cxnSpMkLst>
        </pc:cxnChg>
        <pc:cxnChg chg="mod">
          <ac:chgData name="Mary Cruz Portugal Fernandez" userId="5b2e4939-a7dc-4649-be3a-bb2844e519d6" providerId="ADAL" clId="{939DEDFB-26F4-4FE2-B596-69C43607773D}" dt="2024-08-12T16:41:02.841" v="271" actId="1076"/>
          <ac:cxnSpMkLst>
            <pc:docMk/>
            <pc:sldMk cId="1253964456" sldId="2147310012"/>
            <ac:cxnSpMk id="51" creationId="{C206E334-3B8E-C988-A1A2-955D965AC5FD}"/>
          </ac:cxnSpMkLst>
        </pc:cxnChg>
      </pc:sldChg>
      <pc:sldChg chg="addSp modSp mod modAnim">
        <pc:chgData name="Mary Cruz Portugal Fernandez" userId="5b2e4939-a7dc-4649-be3a-bb2844e519d6" providerId="ADAL" clId="{939DEDFB-26F4-4FE2-B596-69C43607773D}" dt="2024-08-12T16:59:03.241" v="444" actId="1076"/>
        <pc:sldMkLst>
          <pc:docMk/>
          <pc:sldMk cId="3220162634" sldId="2147310013"/>
        </pc:sldMkLst>
        <pc:spChg chg="mod">
          <ac:chgData name="Mary Cruz Portugal Fernandez" userId="5b2e4939-a7dc-4649-be3a-bb2844e519d6" providerId="ADAL" clId="{939DEDFB-26F4-4FE2-B596-69C43607773D}" dt="2024-08-12T16:54:59.024" v="418" actId="1076"/>
          <ac:spMkLst>
            <pc:docMk/>
            <pc:sldMk cId="3220162634" sldId="2147310013"/>
            <ac:spMk id="3" creationId="{BE48A060-9B2A-C471-2CEA-6EB7EC947F39}"/>
          </ac:spMkLst>
        </pc:spChg>
        <pc:spChg chg="mod">
          <ac:chgData name="Mary Cruz Portugal Fernandez" userId="5b2e4939-a7dc-4649-be3a-bb2844e519d6" providerId="ADAL" clId="{939DEDFB-26F4-4FE2-B596-69C43607773D}" dt="2024-08-12T16:58:55.551" v="442" actId="14100"/>
          <ac:spMkLst>
            <pc:docMk/>
            <pc:sldMk cId="3220162634" sldId="2147310013"/>
            <ac:spMk id="4" creationId="{214813B5-CFED-29B4-BF6F-6CDF2DFD1998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5" creationId="{DCFC370B-44D8-91ED-9C38-441986C9E4BE}"/>
          </ac:spMkLst>
        </pc:spChg>
        <pc:spChg chg="add mod">
          <ac:chgData name="Mary Cruz Portugal Fernandez" userId="5b2e4939-a7dc-4649-be3a-bb2844e519d6" providerId="ADAL" clId="{939DEDFB-26F4-4FE2-B596-69C43607773D}" dt="2024-08-12T16:54:49.691" v="416" actId="408"/>
          <ac:spMkLst>
            <pc:docMk/>
            <pc:sldMk cId="3220162634" sldId="2147310013"/>
            <ac:spMk id="6" creationId="{794426CF-02AC-ED77-A5F9-A3D5E7DAFD90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8" creationId="{796FAE6D-544B-0F2A-4D80-0D93C6DAC61E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16" creationId="{6F37DDB0-9DF4-9B80-6878-B28A1F0EBCDF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19" creationId="{555F3443-61F8-91D4-34FD-2C3A2C66E1A2}"/>
          </ac:spMkLst>
        </pc:spChg>
        <pc:spChg chg="mod">
          <ac:chgData name="Mary Cruz Portugal Fernandez" userId="5b2e4939-a7dc-4649-be3a-bb2844e519d6" providerId="ADAL" clId="{939DEDFB-26F4-4FE2-B596-69C43607773D}" dt="2024-08-12T16:51:25.819" v="380" actId="1076"/>
          <ac:spMkLst>
            <pc:docMk/>
            <pc:sldMk cId="3220162634" sldId="2147310013"/>
            <ac:spMk id="21" creationId="{1D59CAD0-FAC0-0B32-FD2A-220A16AB290B}"/>
          </ac:spMkLst>
        </pc:spChg>
        <pc:spChg chg="mod">
          <ac:chgData name="Mary Cruz Portugal Fernandez" userId="5b2e4939-a7dc-4649-be3a-bb2844e519d6" providerId="ADAL" clId="{939DEDFB-26F4-4FE2-B596-69C43607773D}" dt="2024-08-12T16:51:25.819" v="380" actId="1076"/>
          <ac:spMkLst>
            <pc:docMk/>
            <pc:sldMk cId="3220162634" sldId="2147310013"/>
            <ac:spMk id="23" creationId="{5C53E7DF-5446-8BB3-EAD8-2C4B22F3C78A}"/>
          </ac:spMkLst>
        </pc:spChg>
        <pc:spChg chg="mod">
          <ac:chgData name="Mary Cruz Portugal Fernandez" userId="5b2e4939-a7dc-4649-be3a-bb2844e519d6" providerId="ADAL" clId="{939DEDFB-26F4-4FE2-B596-69C43607773D}" dt="2024-08-12T16:51:25.819" v="380" actId="1076"/>
          <ac:spMkLst>
            <pc:docMk/>
            <pc:sldMk cId="3220162634" sldId="2147310013"/>
            <ac:spMk id="25" creationId="{60AEF0E8-673F-F364-6612-B8C442F48D75}"/>
          </ac:spMkLst>
        </pc:spChg>
        <pc:spChg chg="mod">
          <ac:chgData name="Mary Cruz Portugal Fernandez" userId="5b2e4939-a7dc-4649-be3a-bb2844e519d6" providerId="ADAL" clId="{939DEDFB-26F4-4FE2-B596-69C43607773D}" dt="2024-08-12T16:54:49.691" v="416" actId="408"/>
          <ac:spMkLst>
            <pc:docMk/>
            <pc:sldMk cId="3220162634" sldId="2147310013"/>
            <ac:spMk id="27" creationId="{34D23AD1-A144-6923-5142-C60D4FD2E070}"/>
          </ac:spMkLst>
        </pc:spChg>
        <pc:spChg chg="mod">
          <ac:chgData name="Mary Cruz Portugal Fernandez" userId="5b2e4939-a7dc-4649-be3a-bb2844e519d6" providerId="ADAL" clId="{939DEDFB-26F4-4FE2-B596-69C43607773D}" dt="2024-08-12T16:53:56.408" v="405" actId="1076"/>
          <ac:spMkLst>
            <pc:docMk/>
            <pc:sldMk cId="3220162634" sldId="2147310013"/>
            <ac:spMk id="28" creationId="{B761A65A-2EE3-ED35-E864-4CAD1A5197F8}"/>
          </ac:spMkLst>
        </pc:spChg>
        <pc:spChg chg="mod">
          <ac:chgData name="Mary Cruz Portugal Fernandez" userId="5b2e4939-a7dc-4649-be3a-bb2844e519d6" providerId="ADAL" clId="{939DEDFB-26F4-4FE2-B596-69C43607773D}" dt="2024-08-12T16:51:25.819" v="380" actId="1076"/>
          <ac:spMkLst>
            <pc:docMk/>
            <pc:sldMk cId="3220162634" sldId="2147310013"/>
            <ac:spMk id="29" creationId="{F61115BC-F867-165D-ACD4-F601FD4C9D15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30" creationId="{1B3594EE-5C7D-88B2-19F1-0A643220AC5B}"/>
          </ac:spMkLst>
        </pc:spChg>
        <pc:spChg chg="mod">
          <ac:chgData name="Mary Cruz Portugal Fernandez" userId="5b2e4939-a7dc-4649-be3a-bb2844e519d6" providerId="ADAL" clId="{939DEDFB-26F4-4FE2-B596-69C43607773D}" dt="2024-08-12T16:55:01.097" v="419" actId="1076"/>
          <ac:spMkLst>
            <pc:docMk/>
            <pc:sldMk cId="3220162634" sldId="2147310013"/>
            <ac:spMk id="37" creationId="{9C3DE868-6F3F-4CB1-F5D2-B62BC999BD69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38" creationId="{01BD3907-257A-9B49-612D-779EAD43FA17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39" creationId="{A09B774A-456B-D4AC-519A-D04D46F2BC7B}"/>
          </ac:spMkLst>
        </pc:spChg>
        <pc:spChg chg="add mod">
          <ac:chgData name="Mary Cruz Portugal Fernandez" userId="5b2e4939-a7dc-4649-be3a-bb2844e519d6" providerId="ADAL" clId="{939DEDFB-26F4-4FE2-B596-69C43607773D}" dt="2024-08-12T16:54:32.824" v="415" actId="1076"/>
          <ac:spMkLst>
            <pc:docMk/>
            <pc:sldMk cId="3220162634" sldId="2147310013"/>
            <ac:spMk id="41" creationId="{2E8B83D7-43BF-4EB2-0401-67B12A9AE197}"/>
          </ac:spMkLst>
        </pc:spChg>
        <pc:spChg chg="add mod">
          <ac:chgData name="Mary Cruz Portugal Fernandez" userId="5b2e4939-a7dc-4649-be3a-bb2844e519d6" providerId="ADAL" clId="{939DEDFB-26F4-4FE2-B596-69C43607773D}" dt="2024-08-12T16:55:42.560" v="425" actId="1076"/>
          <ac:spMkLst>
            <pc:docMk/>
            <pc:sldMk cId="3220162634" sldId="2147310013"/>
            <ac:spMk id="42" creationId="{2803EE5D-2345-F47A-17F2-846D4D40B8E3}"/>
          </ac:spMkLst>
        </pc:spChg>
        <pc:spChg chg="add mod">
          <ac:chgData name="Mary Cruz Portugal Fernandez" userId="5b2e4939-a7dc-4649-be3a-bb2844e519d6" providerId="ADAL" clId="{939DEDFB-26F4-4FE2-B596-69C43607773D}" dt="2024-08-12T16:55:44.216" v="426" actId="1076"/>
          <ac:spMkLst>
            <pc:docMk/>
            <pc:sldMk cId="3220162634" sldId="2147310013"/>
            <ac:spMk id="43" creationId="{E63EF131-7846-D4F0-2789-901EB6BDCE06}"/>
          </ac:spMkLst>
        </pc:spChg>
        <pc:spChg chg="add mod">
          <ac:chgData name="Mary Cruz Portugal Fernandez" userId="5b2e4939-a7dc-4649-be3a-bb2844e519d6" providerId="ADAL" clId="{939DEDFB-26F4-4FE2-B596-69C43607773D}" dt="2024-08-12T16:56:02.235" v="427" actId="571"/>
          <ac:spMkLst>
            <pc:docMk/>
            <pc:sldMk cId="3220162634" sldId="2147310013"/>
            <ac:spMk id="44" creationId="{0E75D428-3B23-B95B-138D-0088F652DC1C}"/>
          </ac:spMkLst>
        </pc:spChg>
        <pc:spChg chg="add mod">
          <ac:chgData name="Mary Cruz Portugal Fernandez" userId="5b2e4939-a7dc-4649-be3a-bb2844e519d6" providerId="ADAL" clId="{939DEDFB-26F4-4FE2-B596-69C43607773D}" dt="2024-08-12T16:56:02.235" v="427" actId="571"/>
          <ac:spMkLst>
            <pc:docMk/>
            <pc:sldMk cId="3220162634" sldId="2147310013"/>
            <ac:spMk id="45" creationId="{75C8FE08-515A-EB70-D024-5DBFA8233DD6}"/>
          </ac:spMkLst>
        </pc:spChg>
        <pc:spChg chg="add mod">
          <ac:chgData name="Mary Cruz Portugal Fernandez" userId="5b2e4939-a7dc-4649-be3a-bb2844e519d6" providerId="ADAL" clId="{939DEDFB-26F4-4FE2-B596-69C43607773D}" dt="2024-08-12T16:56:02.235" v="427" actId="571"/>
          <ac:spMkLst>
            <pc:docMk/>
            <pc:sldMk cId="3220162634" sldId="2147310013"/>
            <ac:spMk id="46" creationId="{787C817C-5D86-609A-581F-68E8A9ABE69E}"/>
          </ac:spMkLst>
        </pc:spChg>
        <pc:spChg chg="mod">
          <ac:chgData name="Mary Cruz Portugal Fernandez" userId="5b2e4939-a7dc-4649-be3a-bb2844e519d6" providerId="ADAL" clId="{939DEDFB-26F4-4FE2-B596-69C43607773D}" dt="2024-08-12T16:54:55.239" v="417" actId="1076"/>
          <ac:spMkLst>
            <pc:docMk/>
            <pc:sldMk cId="3220162634" sldId="2147310013"/>
            <ac:spMk id="47" creationId="{08D53DA9-CEB0-BF2E-866E-95A6BA5CE860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48" creationId="{00F49C6B-A09B-C3C2-0CA5-E99B0BDAC31D}"/>
          </ac:spMkLst>
        </pc:spChg>
        <pc:spChg chg="add mod">
          <ac:chgData name="Mary Cruz Portugal Fernandez" userId="5b2e4939-a7dc-4649-be3a-bb2844e519d6" providerId="ADAL" clId="{939DEDFB-26F4-4FE2-B596-69C43607773D}" dt="2024-08-12T16:56:07.254" v="428" actId="571"/>
          <ac:spMkLst>
            <pc:docMk/>
            <pc:sldMk cId="3220162634" sldId="2147310013"/>
            <ac:spMk id="49" creationId="{94C21D5F-3108-E7D8-529D-85A9B3D0A42C}"/>
          </ac:spMkLst>
        </pc:spChg>
        <pc:spChg chg="add mod">
          <ac:chgData name="Mary Cruz Portugal Fernandez" userId="5b2e4939-a7dc-4649-be3a-bb2844e519d6" providerId="ADAL" clId="{939DEDFB-26F4-4FE2-B596-69C43607773D}" dt="2024-08-12T16:56:07.254" v="428" actId="571"/>
          <ac:spMkLst>
            <pc:docMk/>
            <pc:sldMk cId="3220162634" sldId="2147310013"/>
            <ac:spMk id="51" creationId="{0CD4A289-3C44-D1B2-2F73-C6014134DA8A}"/>
          </ac:spMkLst>
        </pc:spChg>
        <pc:spChg chg="mod">
          <ac:chgData name="Mary Cruz Portugal Fernandez" userId="5b2e4939-a7dc-4649-be3a-bb2844e519d6" providerId="ADAL" clId="{939DEDFB-26F4-4FE2-B596-69C43607773D}" dt="2024-08-12T16:58:57.993" v="443" actId="14100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Mary Cruz Portugal Fernandez" userId="5b2e4939-a7dc-4649-be3a-bb2844e519d6" providerId="ADAL" clId="{939DEDFB-26F4-4FE2-B596-69C43607773D}" dt="2024-08-12T16:51:25.819" v="380" actId="1076"/>
          <ac:spMkLst>
            <pc:docMk/>
            <pc:sldMk cId="3220162634" sldId="2147310013"/>
            <ac:spMk id="53" creationId="{FA42AA40-A391-EC6A-40D7-8F46A9ED8DE4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55" creationId="{72D4B0F3-8C67-0E29-74DD-A4B03B0101B3}"/>
          </ac:spMkLst>
        </pc:spChg>
        <pc:spChg chg="add mod">
          <ac:chgData name="Mary Cruz Portugal Fernandez" userId="5b2e4939-a7dc-4649-be3a-bb2844e519d6" providerId="ADAL" clId="{939DEDFB-26F4-4FE2-B596-69C43607773D}" dt="2024-08-12T16:56:07.254" v="428" actId="571"/>
          <ac:spMkLst>
            <pc:docMk/>
            <pc:sldMk cId="3220162634" sldId="2147310013"/>
            <ac:spMk id="59" creationId="{D3BDC942-011B-E1ED-FA9F-520DB38C267A}"/>
          </ac:spMkLst>
        </pc:spChg>
        <pc:spChg chg="add mod">
          <ac:chgData name="Mary Cruz Portugal Fernandez" userId="5b2e4939-a7dc-4649-be3a-bb2844e519d6" providerId="ADAL" clId="{939DEDFB-26F4-4FE2-B596-69C43607773D}" dt="2024-08-12T16:56:38.104" v="433" actId="1076"/>
          <ac:spMkLst>
            <pc:docMk/>
            <pc:sldMk cId="3220162634" sldId="2147310013"/>
            <ac:spMk id="60" creationId="{AC0373C8-E4E9-2D37-D1A1-54B26C2FC049}"/>
          </ac:spMkLst>
        </pc:spChg>
        <pc:spChg chg="add mod">
          <ac:chgData name="Mary Cruz Portugal Fernandez" userId="5b2e4939-a7dc-4649-be3a-bb2844e519d6" providerId="ADAL" clId="{939DEDFB-26F4-4FE2-B596-69C43607773D}" dt="2024-08-12T16:56:33.447" v="432" actId="1076"/>
          <ac:spMkLst>
            <pc:docMk/>
            <pc:sldMk cId="3220162634" sldId="2147310013"/>
            <ac:spMk id="65" creationId="{9F8AF1AE-AC92-73B3-4E9C-EEFED05973E6}"/>
          </ac:spMkLst>
        </pc:spChg>
        <pc:spChg chg="add mod">
          <ac:chgData name="Mary Cruz Portugal Fernandez" userId="5b2e4939-a7dc-4649-be3a-bb2844e519d6" providerId="ADAL" clId="{939DEDFB-26F4-4FE2-B596-69C43607773D}" dt="2024-08-12T16:56:48.489" v="435" actId="1076"/>
          <ac:spMkLst>
            <pc:docMk/>
            <pc:sldMk cId="3220162634" sldId="2147310013"/>
            <ac:spMk id="66" creationId="{FA16898D-D8C7-51EB-2611-3C253274A308}"/>
          </ac:spMkLst>
        </pc:spChg>
        <pc:spChg chg="add mod">
          <ac:chgData name="Mary Cruz Portugal Fernandez" userId="5b2e4939-a7dc-4649-be3a-bb2844e519d6" providerId="ADAL" clId="{939DEDFB-26F4-4FE2-B596-69C43607773D}" dt="2024-08-12T16:56:52.073" v="437" actId="1076"/>
          <ac:spMkLst>
            <pc:docMk/>
            <pc:sldMk cId="3220162634" sldId="2147310013"/>
            <ac:spMk id="67" creationId="{9B7DC874-148D-D8C3-E3D7-BBE69C83D369}"/>
          </ac:spMkLst>
        </pc:spChg>
        <pc:spChg chg="add mod">
          <ac:chgData name="Mary Cruz Portugal Fernandez" userId="5b2e4939-a7dc-4649-be3a-bb2844e519d6" providerId="ADAL" clId="{939DEDFB-26F4-4FE2-B596-69C43607773D}" dt="2024-08-12T16:57:13.176" v="439" actId="1076"/>
          <ac:spMkLst>
            <pc:docMk/>
            <pc:sldMk cId="3220162634" sldId="2147310013"/>
            <ac:spMk id="71" creationId="{29E60385-B14E-A5E5-1E05-79D62CE39A9B}"/>
          </ac:spMkLst>
        </pc:spChg>
        <pc:spChg chg="add mod">
          <ac:chgData name="Mary Cruz Portugal Fernandez" userId="5b2e4939-a7dc-4649-be3a-bb2844e519d6" providerId="ADAL" clId="{939DEDFB-26F4-4FE2-B596-69C43607773D}" dt="2024-08-12T16:57:16.808" v="441" actId="1076"/>
          <ac:spMkLst>
            <pc:docMk/>
            <pc:sldMk cId="3220162634" sldId="2147310013"/>
            <ac:spMk id="72" creationId="{C655077A-BD89-1610-F59E-3B292CA2D682}"/>
          </ac:spMkLst>
        </pc:spChg>
        <pc:spChg chg="mod">
          <ac:chgData name="Mary Cruz Portugal Fernandez" userId="5b2e4939-a7dc-4649-be3a-bb2844e519d6" providerId="ADAL" clId="{939DEDFB-26F4-4FE2-B596-69C43607773D}" dt="2024-08-12T16:59:03.241" v="444" actId="1076"/>
          <ac:spMkLst>
            <pc:docMk/>
            <pc:sldMk cId="3220162634" sldId="2147310013"/>
            <ac:spMk id="85" creationId="{A190D0B4-92ED-1A31-8614-795A6D20A889}"/>
          </ac:spMkLst>
        </pc:spChg>
        <pc:grpChg chg="mod">
          <ac:chgData name="Mary Cruz Portugal Fernandez" userId="5b2e4939-a7dc-4649-be3a-bb2844e519d6" providerId="ADAL" clId="{939DEDFB-26F4-4FE2-B596-69C43607773D}" dt="2024-08-12T16:51:25.819" v="380" actId="1076"/>
          <ac:grpSpMkLst>
            <pc:docMk/>
            <pc:sldMk cId="3220162634" sldId="2147310013"/>
            <ac:grpSpMk id="31" creationId="{1DB416D3-DF5E-D3DA-70A1-5AFA3C8D6B36}"/>
          </ac:grpSpMkLst>
        </pc:grpChg>
        <pc:grpChg chg="mod">
          <ac:chgData name="Mary Cruz Portugal Fernandez" userId="5b2e4939-a7dc-4649-be3a-bb2844e519d6" providerId="ADAL" clId="{939DEDFB-26F4-4FE2-B596-69C43607773D}" dt="2024-08-12T16:51:34.601" v="385" actId="1076"/>
          <ac:grpSpMkLst>
            <pc:docMk/>
            <pc:sldMk cId="3220162634" sldId="2147310013"/>
            <ac:grpSpMk id="100" creationId="{40F1A526-D7B5-8B1C-930F-65535833FD1B}"/>
          </ac:grpSpMkLst>
        </pc:grpChg>
        <pc:graphicFrameChg chg="mod modGraphic">
          <ac:chgData name="Mary Cruz Portugal Fernandez" userId="5b2e4939-a7dc-4649-be3a-bb2844e519d6" providerId="ADAL" clId="{939DEDFB-26F4-4FE2-B596-69C43607773D}" dt="2024-08-12T16:51:25.819" v="380" actId="1076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54:24.096" v="411" actId="14100"/>
          <ac:graphicFrameMkLst>
            <pc:docMk/>
            <pc:sldMk cId="3220162634" sldId="2147310013"/>
            <ac:graphicFrameMk id="9" creationId="{6CAFEE46-651C-4D5E-688E-AA3C88B6FD69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51:25.819" v="380" actId="1076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Mary Cruz Portugal Fernandez" userId="5b2e4939-a7dc-4649-be3a-bb2844e519d6" providerId="ADAL" clId="{939DEDFB-26F4-4FE2-B596-69C43607773D}" dt="2024-08-12T16:51:25.819" v="380" actId="1076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52:02.472" v="398" actId="14100"/>
          <ac:graphicFrameMkLst>
            <pc:docMk/>
            <pc:sldMk cId="3220162634" sldId="2147310013"/>
            <ac:graphicFrameMk id="24" creationId="{1F63B92A-AAF5-96C2-6880-F383DEA45B0D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51:58.688" v="397" actId="14100"/>
          <ac:graphicFrameMkLst>
            <pc:docMk/>
            <pc:sldMk cId="3220162634" sldId="2147310013"/>
            <ac:graphicFrameMk id="61" creationId="{F80C53DB-1346-9B12-6010-601F74E865A3}"/>
          </ac:graphicFrameMkLst>
        </pc:graphicFrameChg>
        <pc:graphicFrameChg chg="modGraphic">
          <ac:chgData name="Mary Cruz Portugal Fernandez" userId="5b2e4939-a7dc-4649-be3a-bb2844e519d6" providerId="ADAL" clId="{939DEDFB-26F4-4FE2-B596-69C43607773D}" dt="2024-08-12T16:51:43.632" v="393" actId="20577"/>
          <ac:graphicFrameMkLst>
            <pc:docMk/>
            <pc:sldMk cId="3220162634" sldId="2147310013"/>
            <ac:graphicFrameMk id="83" creationId="{078028E8-7344-67A2-47F9-81298AFE5B2F}"/>
          </ac:graphicFrameMkLst>
        </pc:graphicFrameChg>
        <pc:cxnChg chg="mod">
          <ac:chgData name="Mary Cruz Portugal Fernandez" userId="5b2e4939-a7dc-4649-be3a-bb2844e519d6" providerId="ADAL" clId="{939DEDFB-26F4-4FE2-B596-69C43607773D}" dt="2024-08-12T16:51:25.819" v="380" actId="1076"/>
          <ac:cxnSpMkLst>
            <pc:docMk/>
            <pc:sldMk cId="3220162634" sldId="2147310013"/>
            <ac:cxnSpMk id="26" creationId="{E5E3E115-6167-D937-90F3-8C6C0A2B3840}"/>
          </ac:cxnSpMkLst>
        </pc:cxnChg>
        <pc:cxnChg chg="mod">
          <ac:chgData name="Mary Cruz Portugal Fernandez" userId="5b2e4939-a7dc-4649-be3a-bb2844e519d6" providerId="ADAL" clId="{939DEDFB-26F4-4FE2-B596-69C43607773D}" dt="2024-08-12T16:51:52.136" v="394" actId="1076"/>
          <ac:cxnSpMkLst>
            <pc:docMk/>
            <pc:sldMk cId="3220162634" sldId="2147310013"/>
            <ac:cxnSpMk id="99" creationId="{C02670AE-9261-CA3F-F9D0-DD8729B1D1B0}"/>
          </ac:cxnSpMkLst>
        </pc:cxnChg>
      </pc:sldChg>
    </pc:docChg>
  </pc:docChgLst>
  <pc:docChgLst>
    <pc:chgData name="Fernando Enrique Nuñez Zapata" userId="4887fb29-3871-42a7-b0aa-ea8d45a5c181" providerId="ADAL" clId="{6433A103-435F-4B8D-B41D-48EF957F02BC}"/>
    <pc:docChg chg="undo redo custSel delSld modSld modSection">
      <pc:chgData name="Fernando Enrique Nuñez Zapata" userId="4887fb29-3871-42a7-b0aa-ea8d45a5c181" providerId="ADAL" clId="{6433A103-435F-4B8D-B41D-48EF957F02BC}" dt="2024-06-19T22:51:45.733" v="3841" actId="207"/>
      <pc:docMkLst>
        <pc:docMk/>
      </pc:docMkLst>
      <pc:sldChg chg="modSp mod">
        <pc:chgData name="Fernando Enrique Nuñez Zapata" userId="4887fb29-3871-42a7-b0aa-ea8d45a5c181" providerId="ADAL" clId="{6433A103-435F-4B8D-B41D-48EF957F02BC}" dt="2024-06-11T15:27:57.248" v="12" actId="20577"/>
        <pc:sldMkLst>
          <pc:docMk/>
          <pc:sldMk cId="2525707367" sldId="272"/>
        </pc:sldMkLst>
        <pc:spChg chg="mod">
          <ac:chgData name="Fernando Enrique Nuñez Zapata" userId="4887fb29-3871-42a7-b0aa-ea8d45a5c181" providerId="ADAL" clId="{6433A103-435F-4B8D-B41D-48EF957F02BC}" dt="2024-06-11T15:27:57.248" v="12" actId="20577"/>
          <ac:spMkLst>
            <pc:docMk/>
            <pc:sldMk cId="2525707367" sldId="272"/>
            <ac:spMk id="5" creationId="{AEEBF140-B757-413E-7EC8-737EE86AFB77}"/>
          </ac:spMkLst>
        </pc:spChg>
      </pc:sldChg>
      <pc:sldChg chg="modSp mod">
        <pc:chgData name="Fernando Enrique Nuñez Zapata" userId="4887fb29-3871-42a7-b0aa-ea8d45a5c181" providerId="ADAL" clId="{6433A103-435F-4B8D-B41D-48EF957F02BC}" dt="2024-06-18T20:34:10.913" v="3331" actId="20577"/>
        <pc:sldMkLst>
          <pc:docMk/>
          <pc:sldMk cId="3730778646" sldId="2147309983"/>
        </pc:sldMkLst>
        <pc:graphicFrameChg chg="modGraphic">
          <ac:chgData name="Fernando Enrique Nuñez Zapata" userId="4887fb29-3871-42a7-b0aa-ea8d45a5c181" providerId="ADAL" clId="{6433A103-435F-4B8D-B41D-48EF957F02BC}" dt="2024-06-18T20:34:10.913" v="3331" actId="20577"/>
          <ac:graphicFrameMkLst>
            <pc:docMk/>
            <pc:sldMk cId="3730778646" sldId="2147309983"/>
            <ac:graphicFrameMk id="2" creationId="{75F28477-55F2-A417-EBF1-D61943C64A04}"/>
          </ac:graphicFrameMkLst>
        </pc:graphicFrameChg>
      </pc:sldChg>
      <pc:sldChg chg="delSp modSp mod addAnim delAnim">
        <pc:chgData name="Fernando Enrique Nuñez Zapata" userId="4887fb29-3871-42a7-b0aa-ea8d45a5c181" providerId="ADAL" clId="{6433A103-435F-4B8D-B41D-48EF957F02BC}" dt="2024-06-19T21:26:52.356" v="3619" actId="20577"/>
        <pc:sldMkLst>
          <pc:docMk/>
          <pc:sldMk cId="3859250616" sldId="2147310010"/>
        </pc:sldMkLst>
        <pc:spChg chg="mod">
          <ac:chgData name="Fernando Enrique Nuñez Zapata" userId="4887fb29-3871-42a7-b0aa-ea8d45a5c181" providerId="ADAL" clId="{6433A103-435F-4B8D-B41D-48EF957F02BC}" dt="2024-06-17T21:22:58.071" v="2589" actId="1076"/>
          <ac:spMkLst>
            <pc:docMk/>
            <pc:sldMk cId="3859250616" sldId="2147310010"/>
            <ac:spMk id="11" creationId="{DC3BD483-F9C1-8DFE-E338-7EA0168F4F08}"/>
          </ac:spMkLst>
        </pc:spChg>
        <pc:spChg chg="mod">
          <ac:chgData name="Fernando Enrique Nuñez Zapata" userId="4887fb29-3871-42a7-b0aa-ea8d45a5c181" providerId="ADAL" clId="{6433A103-435F-4B8D-B41D-48EF957F02BC}" dt="2024-06-17T21:24:14.170" v="2591" actId="6549"/>
          <ac:spMkLst>
            <pc:docMk/>
            <pc:sldMk cId="3859250616" sldId="2147310010"/>
            <ac:spMk id="95" creationId="{1E36C828-9251-7A0D-8548-438D1BC31F5A}"/>
          </ac:spMkLst>
        </pc:spChg>
        <pc:spChg chg="mod">
          <ac:chgData name="Fernando Enrique Nuñez Zapata" userId="4887fb29-3871-42a7-b0aa-ea8d45a5c181" providerId="ADAL" clId="{6433A103-435F-4B8D-B41D-48EF957F02BC}" dt="2024-06-17T15:35:23.038" v="1926" actId="20577"/>
          <ac:spMkLst>
            <pc:docMk/>
            <pc:sldMk cId="3859250616" sldId="2147310010"/>
            <ac:spMk id="102" creationId="{80DD0410-EF02-293E-A16A-F38EC64F2229}"/>
          </ac:spMkLst>
        </pc:spChg>
        <pc:spChg chg="del mod">
          <ac:chgData name="Fernando Enrique Nuñez Zapata" userId="4887fb29-3871-42a7-b0aa-ea8d45a5c181" providerId="ADAL" clId="{6433A103-435F-4B8D-B41D-48EF957F02BC}" dt="2024-06-17T15:34:53.097" v="1891" actId="478"/>
          <ac:spMkLst>
            <pc:docMk/>
            <pc:sldMk cId="3859250616" sldId="2147310010"/>
            <ac:spMk id="104" creationId="{5D8422E2-EB36-49DB-8570-A731E28EBA4B}"/>
          </ac:spMkLst>
        </pc:spChg>
        <pc:spChg chg="mod">
          <ac:chgData name="Fernando Enrique Nuñez Zapata" userId="4887fb29-3871-42a7-b0aa-ea8d45a5c181" providerId="ADAL" clId="{6433A103-435F-4B8D-B41D-48EF957F02BC}" dt="2024-06-17T22:35:11.988" v="2854" actId="552"/>
          <ac:spMkLst>
            <pc:docMk/>
            <pc:sldMk cId="3859250616" sldId="2147310010"/>
            <ac:spMk id="128" creationId="{F2315BB7-FBF3-84B1-9E97-AF4A3D6EEAF1}"/>
          </ac:spMkLst>
        </pc:spChg>
        <pc:spChg chg="mod">
          <ac:chgData name="Fernando Enrique Nuñez Zapata" userId="4887fb29-3871-42a7-b0aa-ea8d45a5c181" providerId="ADAL" clId="{6433A103-435F-4B8D-B41D-48EF957F02BC}" dt="2024-06-17T22:35:11.988" v="2854" actId="552"/>
          <ac:spMkLst>
            <pc:docMk/>
            <pc:sldMk cId="3859250616" sldId="2147310010"/>
            <ac:spMk id="129" creationId="{4468E9DE-CDB6-81BB-F3B6-E35031C38B74}"/>
          </ac:spMkLst>
        </pc:spChg>
        <pc:spChg chg="mod">
          <ac:chgData name="Fernando Enrique Nuñez Zapata" userId="4887fb29-3871-42a7-b0aa-ea8d45a5c181" providerId="ADAL" clId="{6433A103-435F-4B8D-B41D-48EF957F02BC}" dt="2024-06-17T22:35:11.988" v="2854" actId="552"/>
          <ac:spMkLst>
            <pc:docMk/>
            <pc:sldMk cId="3859250616" sldId="2147310010"/>
            <ac:spMk id="130" creationId="{1C78E1CB-3E5F-962B-D1F3-2168A7EA4945}"/>
          </ac:spMkLst>
        </pc:spChg>
        <pc:graphicFrameChg chg="mod modGraphic">
          <ac:chgData name="Fernando Enrique Nuñez Zapata" userId="4887fb29-3871-42a7-b0aa-ea8d45a5c181" providerId="ADAL" clId="{6433A103-435F-4B8D-B41D-48EF957F02BC}" dt="2024-06-19T15:49:50.082" v="3416" actId="2057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26:52.356" v="3619" actId="20577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16:20:23.140" v="3513" actId="20577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</pc:sldChg>
      <pc:sldChg chg="addSp delSp modSp mod addAnim delAnim modAnim">
        <pc:chgData name="Fernando Enrique Nuñez Zapata" userId="4887fb29-3871-42a7-b0aa-ea8d45a5c181" providerId="ADAL" clId="{6433A103-435F-4B8D-B41D-48EF957F02BC}" dt="2024-06-19T21:28:51.650" v="3648" actId="6549"/>
        <pc:sldMkLst>
          <pc:docMk/>
          <pc:sldMk cId="659418568" sldId="2147310011"/>
        </pc:sldMkLst>
        <pc:spChg chg="mod">
          <ac:chgData name="Fernando Enrique Nuñez Zapata" userId="4887fb29-3871-42a7-b0aa-ea8d45a5c181" providerId="ADAL" clId="{6433A103-435F-4B8D-B41D-48EF957F02BC}" dt="2024-06-17T22:06:27.493" v="2606" actId="6549"/>
          <ac:spMkLst>
            <pc:docMk/>
            <pc:sldMk cId="659418568" sldId="2147310011"/>
            <ac:spMk id="7" creationId="{B4E3CC02-00CB-686C-B6AA-8EB7AE4E4E80}"/>
          </ac:spMkLst>
        </pc:spChg>
        <pc:spChg chg="mod">
          <ac:chgData name="Fernando Enrique Nuñez Zapata" userId="4887fb29-3871-42a7-b0aa-ea8d45a5c181" providerId="ADAL" clId="{6433A103-435F-4B8D-B41D-48EF957F02BC}" dt="2024-06-17T22:35:43.586" v="2857" actId="552"/>
          <ac:spMkLst>
            <pc:docMk/>
            <pc:sldMk cId="659418568" sldId="2147310011"/>
            <ac:spMk id="10" creationId="{D5E651B5-AC20-A328-3F4F-30292580B6AF}"/>
          </ac:spMkLst>
        </pc:spChg>
        <pc:spChg chg="add mod">
          <ac:chgData name="Fernando Enrique Nuñez Zapata" userId="4887fb29-3871-42a7-b0aa-ea8d45a5c181" providerId="ADAL" clId="{6433A103-435F-4B8D-B41D-48EF957F02BC}" dt="2024-06-17T23:19:31.349" v="3317" actId="20577"/>
          <ac:spMkLst>
            <pc:docMk/>
            <pc:sldMk cId="659418568" sldId="2147310011"/>
            <ac:spMk id="11" creationId="{07C7B54A-55DA-D36E-82D3-76771CF774CD}"/>
          </ac:spMkLst>
        </pc:spChg>
        <pc:spChg chg="add mod">
          <ac:chgData name="Fernando Enrique Nuñez Zapata" userId="4887fb29-3871-42a7-b0aa-ea8d45a5c181" providerId="ADAL" clId="{6433A103-435F-4B8D-B41D-48EF957F02BC}" dt="2024-06-17T15:52:28.297" v="2068" actId="1076"/>
          <ac:spMkLst>
            <pc:docMk/>
            <pc:sldMk cId="659418568" sldId="2147310011"/>
            <ac:spMk id="11" creationId="{565F6C1F-2808-3F86-962F-F5D772EF4E69}"/>
          </ac:spMkLst>
        </pc:spChg>
        <pc:spChg chg="mod">
          <ac:chgData name="Fernando Enrique Nuñez Zapata" userId="4887fb29-3871-42a7-b0aa-ea8d45a5c181" providerId="ADAL" clId="{6433A103-435F-4B8D-B41D-48EF957F02BC}" dt="2024-06-17T22:36:00.175" v="2863" actId="1038"/>
          <ac:spMkLst>
            <pc:docMk/>
            <pc:sldMk cId="659418568" sldId="2147310011"/>
            <ac:spMk id="13" creationId="{A7F9AE06-D696-4934-3E94-C88F1F554421}"/>
          </ac:spMkLst>
        </pc:spChg>
        <pc:spChg chg="add mod">
          <ac:chgData name="Fernando Enrique Nuñez Zapata" userId="4887fb29-3871-42a7-b0aa-ea8d45a5c181" providerId="ADAL" clId="{6433A103-435F-4B8D-B41D-48EF957F02BC}" dt="2024-06-17T22:36:52.377" v="2867" actId="108"/>
          <ac:spMkLst>
            <pc:docMk/>
            <pc:sldMk cId="659418568" sldId="2147310011"/>
            <ac:spMk id="18" creationId="{B773CC8C-1893-D801-E2DB-1561F5B2168B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19" creationId="{219F0228-A5E0-622A-2D4F-539E5C6179DC}"/>
          </ac:spMkLst>
        </pc:spChg>
        <pc:spChg chg="add mod">
          <ac:chgData name="Fernando Enrique Nuñez Zapata" userId="4887fb29-3871-42a7-b0aa-ea8d45a5c181" providerId="ADAL" clId="{6433A103-435F-4B8D-B41D-48EF957F02BC}" dt="2024-06-17T22:36:41.005" v="2866" actId="108"/>
          <ac:spMkLst>
            <pc:docMk/>
            <pc:sldMk cId="659418568" sldId="2147310011"/>
            <ac:spMk id="20" creationId="{44E483C8-99F5-C97D-BC74-417016EAB33D}"/>
          </ac:spMkLst>
        </pc:spChg>
        <pc:spChg chg="mod">
          <ac:chgData name="Fernando Enrique Nuñez Zapata" userId="4887fb29-3871-42a7-b0aa-ea8d45a5c181" providerId="ADAL" clId="{6433A103-435F-4B8D-B41D-48EF957F02BC}" dt="2024-06-17T22:35:43.586" v="2857" actId="552"/>
          <ac:spMkLst>
            <pc:docMk/>
            <pc:sldMk cId="659418568" sldId="2147310011"/>
            <ac:spMk id="24" creationId="{4AF58815-663E-DAFF-D385-F59EF022E77C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46" creationId="{3700AA40-A3C7-6897-6731-84A9E7843935}"/>
          </ac:spMkLst>
        </pc:spChg>
        <pc:spChg chg="mod">
          <ac:chgData name="Fernando Enrique Nuñez Zapata" userId="4887fb29-3871-42a7-b0aa-ea8d45a5c181" providerId="ADAL" clId="{6433A103-435F-4B8D-B41D-48EF957F02BC}" dt="2024-06-17T22:16:00.219" v="2761" actId="20577"/>
          <ac:spMkLst>
            <pc:docMk/>
            <pc:sldMk cId="659418568" sldId="2147310011"/>
            <ac:spMk id="52" creationId="{D3025A42-AB12-02DF-F704-5ED0E025B12F}"/>
          </ac:spMkLst>
        </pc:spChg>
        <pc:spChg chg="mod">
          <ac:chgData name="Fernando Enrique Nuñez Zapata" userId="4887fb29-3871-42a7-b0aa-ea8d45a5c181" providerId="ADAL" clId="{6433A103-435F-4B8D-B41D-48EF957F02BC}" dt="2024-06-17T22:12:34.560" v="2681" actId="20577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Fernando Enrique Nuñez Zapata" userId="4887fb29-3871-42a7-b0aa-ea8d45a5c181" providerId="ADAL" clId="{6433A103-435F-4B8D-B41D-48EF957F02BC}" dt="2024-06-17T22:36:28.705" v="2865" actId="108"/>
          <ac:spMkLst>
            <pc:docMk/>
            <pc:sldMk cId="659418568" sldId="2147310011"/>
            <ac:spMk id="55" creationId="{72D4B0F3-8C67-0E29-74DD-A4B03B0101B3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57" creationId="{4532FAF8-B96F-0731-BC66-4E3DB911091F}"/>
          </ac:spMkLst>
        </pc:spChg>
        <pc:spChg chg="del mod">
          <ac:chgData name="Fernando Enrique Nuñez Zapata" userId="4887fb29-3871-42a7-b0aa-ea8d45a5c181" providerId="ADAL" clId="{6433A103-435F-4B8D-B41D-48EF957F02BC}" dt="2024-06-17T22:06:43.219" v="2607" actId="478"/>
          <ac:spMkLst>
            <pc:docMk/>
            <pc:sldMk cId="659418568" sldId="2147310011"/>
            <ac:spMk id="77" creationId="{55B683DE-127F-DC63-3013-DC18FBD2A46F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82" creationId="{9DA66A22-3529-8FEF-5426-9215D7B34A96}"/>
          </ac:spMkLst>
        </pc:spChg>
        <pc:spChg chg="mod">
          <ac:chgData name="Fernando Enrique Nuñez Zapata" userId="4887fb29-3871-42a7-b0aa-ea8d45a5c181" providerId="ADAL" clId="{6433A103-435F-4B8D-B41D-48EF957F02BC}" dt="2024-06-17T22:36:12.350" v="2864" actId="108"/>
          <ac:spMkLst>
            <pc:docMk/>
            <pc:sldMk cId="659418568" sldId="2147310011"/>
            <ac:spMk id="85" creationId="{A190D0B4-92ED-1A31-8614-795A6D20A889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87" creationId="{B565D2E5-581F-DB11-AE84-8EF6D06094DA}"/>
          </ac:spMkLst>
        </pc:spChg>
        <pc:spChg chg="mod">
          <ac:chgData name="Fernando Enrique Nuñez Zapata" userId="4887fb29-3871-42a7-b0aa-ea8d45a5c181" providerId="ADAL" clId="{6433A103-435F-4B8D-B41D-48EF957F02BC}" dt="2024-06-17T22:35:49.460" v="2858" actId="552"/>
          <ac:spMkLst>
            <pc:docMk/>
            <pc:sldMk cId="659418568" sldId="2147310011"/>
            <ac:spMk id="89" creationId="{EC857750-AAEC-B371-0D41-2B19DAC5B150}"/>
          </ac:spMkLst>
        </pc:spChg>
        <pc:graphicFrameChg chg="mod modGraphic">
          <ac:chgData name="Fernando Enrique Nuñez Zapata" userId="4887fb29-3871-42a7-b0aa-ea8d45a5c181" providerId="ADAL" clId="{6433A103-435F-4B8D-B41D-48EF957F02BC}" dt="2024-06-19T16:29:29.910" v="3595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28:51.650" v="3648" actId="6549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16:22:51.840" v="3543" actId="20577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</pc:sldChg>
      <pc:sldChg chg="addSp delSp modSp mod delAnim modAnim">
        <pc:chgData name="Fernando Enrique Nuñez Zapata" userId="4887fb29-3871-42a7-b0aa-ea8d45a5c181" providerId="ADAL" clId="{6433A103-435F-4B8D-B41D-48EF957F02BC}" dt="2024-06-19T21:30:23.608" v="3661" actId="6549"/>
        <pc:sldMkLst>
          <pc:docMk/>
          <pc:sldMk cId="1253964456" sldId="2147310012"/>
        </pc:sldMkLst>
        <pc:spChg chg="mod">
          <ac:chgData name="Fernando Enrique Nuñez Zapata" userId="4887fb29-3871-42a7-b0aa-ea8d45a5c181" providerId="ADAL" clId="{6433A103-435F-4B8D-B41D-48EF957F02BC}" dt="2024-06-17T15:52:55.306" v="2072" actId="20577"/>
          <ac:spMkLst>
            <pc:docMk/>
            <pc:sldMk cId="1253964456" sldId="2147310012"/>
            <ac:spMk id="8" creationId="{48FA6392-943C-70EF-9D32-01F15962CFC3}"/>
          </ac:spMkLst>
        </pc:spChg>
        <pc:spChg chg="mod">
          <ac:chgData name="Fernando Enrique Nuñez Zapata" userId="4887fb29-3871-42a7-b0aa-ea8d45a5c181" providerId="ADAL" clId="{6433A103-435F-4B8D-B41D-48EF957F02BC}" dt="2024-06-17T22:37:28.538" v="2873" actId="552"/>
          <ac:spMkLst>
            <pc:docMk/>
            <pc:sldMk cId="1253964456" sldId="2147310012"/>
            <ac:spMk id="10" creationId="{69FB36FE-1D00-899A-FA20-C8453DA91FDE}"/>
          </ac:spMkLst>
        </pc:spChg>
        <pc:spChg chg="mod">
          <ac:chgData name="Fernando Enrique Nuñez Zapata" userId="4887fb29-3871-42a7-b0aa-ea8d45a5c181" providerId="ADAL" clId="{6433A103-435F-4B8D-B41D-48EF957F02BC}" dt="2024-06-17T22:38:08.505" v="2874" actId="108"/>
          <ac:spMkLst>
            <pc:docMk/>
            <pc:sldMk cId="1253964456" sldId="2147310012"/>
            <ac:spMk id="11" creationId="{49ED0FCD-5613-96D5-076D-A718AB6A8B28}"/>
          </ac:spMkLst>
        </pc:spChg>
        <pc:spChg chg="add mod">
          <ac:chgData name="Fernando Enrique Nuñez Zapata" userId="4887fb29-3871-42a7-b0aa-ea8d45a5c181" providerId="ADAL" clId="{6433A103-435F-4B8D-B41D-48EF957F02BC}" dt="2024-06-17T22:37:28.538" v="2873" actId="552"/>
          <ac:spMkLst>
            <pc:docMk/>
            <pc:sldMk cId="1253964456" sldId="2147310012"/>
            <ac:spMk id="14" creationId="{B1F93DCD-E9E3-897E-7C6E-82374D51B591}"/>
          </ac:spMkLst>
        </pc:spChg>
        <pc:spChg chg="mod">
          <ac:chgData name="Fernando Enrique Nuñez Zapata" userId="4887fb29-3871-42a7-b0aa-ea8d45a5c181" providerId="ADAL" clId="{6433A103-435F-4B8D-B41D-48EF957F02BC}" dt="2024-06-17T22:37:28.538" v="2873" actId="552"/>
          <ac:spMkLst>
            <pc:docMk/>
            <pc:sldMk cId="1253964456" sldId="2147310012"/>
            <ac:spMk id="19" creationId="{758D576D-F9E2-9621-8DEB-E1A178609AC3}"/>
          </ac:spMkLst>
        </pc:spChg>
        <pc:spChg chg="del mod">
          <ac:chgData name="Fernando Enrique Nuñez Zapata" userId="4887fb29-3871-42a7-b0aa-ea8d45a5c181" providerId="ADAL" clId="{6433A103-435F-4B8D-B41D-48EF957F02BC}" dt="2024-06-17T16:28:05.984" v="2393" actId="478"/>
          <ac:spMkLst>
            <pc:docMk/>
            <pc:sldMk cId="1253964456" sldId="2147310012"/>
            <ac:spMk id="21" creationId="{C6F21A8A-0B5E-5FF0-B674-CF0F8A01450A}"/>
          </ac:spMkLst>
        </pc:spChg>
        <pc:spChg chg="mod">
          <ac:chgData name="Fernando Enrique Nuñez Zapata" userId="4887fb29-3871-42a7-b0aa-ea8d45a5c181" providerId="ADAL" clId="{6433A103-435F-4B8D-B41D-48EF957F02BC}" dt="2024-06-17T22:37:28.538" v="2873" actId="552"/>
          <ac:spMkLst>
            <pc:docMk/>
            <pc:sldMk cId="1253964456" sldId="2147310012"/>
            <ac:spMk id="29" creationId="{6B3361AF-38C6-2BB3-EBD1-85509DB8CC4E}"/>
          </ac:spMkLst>
        </pc:spChg>
        <pc:spChg chg="mod">
          <ac:chgData name="Fernando Enrique Nuñez Zapata" userId="4887fb29-3871-42a7-b0aa-ea8d45a5c181" providerId="ADAL" clId="{6433A103-435F-4B8D-B41D-48EF957F02BC}" dt="2024-06-17T22:21:03.269" v="2767" actId="20577"/>
          <ac:spMkLst>
            <pc:docMk/>
            <pc:sldMk cId="1253964456" sldId="2147310012"/>
            <ac:spMk id="52" creationId="{D3025A42-AB12-02DF-F704-5ED0E025B12F}"/>
          </ac:spMkLst>
        </pc:spChg>
        <pc:spChg chg="mod">
          <ac:chgData name="Fernando Enrique Nuñez Zapata" userId="4887fb29-3871-42a7-b0aa-ea8d45a5c181" providerId="ADAL" clId="{6433A103-435F-4B8D-B41D-48EF957F02BC}" dt="2024-06-17T22:21:39.426" v="2768" actId="108"/>
          <ac:spMkLst>
            <pc:docMk/>
            <pc:sldMk cId="1253964456" sldId="2147310012"/>
            <ac:spMk id="85" creationId="{A190D0B4-92ED-1A31-8614-795A6D20A889}"/>
          </ac:spMkLst>
        </pc:spChg>
        <pc:graphicFrameChg chg="modGraphic">
          <ac:chgData name="Fernando Enrique Nuñez Zapata" userId="4887fb29-3871-42a7-b0aa-ea8d45a5c181" providerId="ADAL" clId="{6433A103-435F-4B8D-B41D-48EF957F02BC}" dt="2024-06-19T15:50:57.269" v="3426" actId="2057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30:23.608" v="3661" actId="6549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16:24:46.661" v="3563" actId="20577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</pc:sldChg>
      <pc:sldChg chg="addSp modSp mod modAnim">
        <pc:chgData name="Fernando Enrique Nuñez Zapata" userId="4887fb29-3871-42a7-b0aa-ea8d45a5c181" providerId="ADAL" clId="{6433A103-435F-4B8D-B41D-48EF957F02BC}" dt="2024-06-19T21:32:37.717" v="3675" actId="20577"/>
        <pc:sldMkLst>
          <pc:docMk/>
          <pc:sldMk cId="3220162634" sldId="2147310013"/>
        </pc:sldMkLst>
        <pc:spChg chg="mod ord">
          <ac:chgData name="Fernando Enrique Nuñez Zapata" userId="4887fb29-3871-42a7-b0aa-ea8d45a5c181" providerId="ADAL" clId="{6433A103-435F-4B8D-B41D-48EF957F02BC}" dt="2024-06-17T22:29:47.853" v="2845" actId="167"/>
          <ac:spMkLst>
            <pc:docMk/>
            <pc:sldMk cId="3220162634" sldId="2147310013"/>
            <ac:spMk id="4" creationId="{214813B5-CFED-29B4-BF6F-6CDF2DFD1998}"/>
          </ac:spMkLst>
        </pc:spChg>
        <pc:spChg chg="add 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5" creationId="{DCFC370B-44D8-91ED-9C38-441986C9E4BE}"/>
          </ac:spMkLst>
        </pc:spChg>
        <pc:spChg chg="mod">
          <ac:chgData name="Fernando Enrique Nuñez Zapata" userId="4887fb29-3871-42a7-b0aa-ea8d45a5c181" providerId="ADAL" clId="{6433A103-435F-4B8D-B41D-48EF957F02BC}" dt="2024-06-17T22:30:13.361" v="2848" actId="1076"/>
          <ac:spMkLst>
            <pc:docMk/>
            <pc:sldMk cId="3220162634" sldId="2147310013"/>
            <ac:spMk id="8" creationId="{796FAE6D-544B-0F2A-4D80-0D93C6DAC61E}"/>
          </ac:spMkLst>
        </pc:spChg>
        <pc:spChg chg="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16" creationId="{6F37DDB0-9DF4-9B80-6878-B28A1F0EBCDF}"/>
          </ac:spMkLst>
        </pc:spChg>
        <pc:spChg chg="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19" creationId="{555F3443-61F8-91D4-34FD-2C3A2C66E1A2}"/>
          </ac:spMkLst>
        </pc:spChg>
        <pc:spChg chg="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30" creationId="{1B3594EE-5C7D-88B2-19F1-0A643220AC5B}"/>
          </ac:spMkLst>
        </pc:spChg>
        <pc:spChg chg="add mod">
          <ac:chgData name="Fernando Enrique Nuñez Zapata" userId="4887fb29-3871-42a7-b0aa-ea8d45a5c181" providerId="ADAL" clId="{6433A103-435F-4B8D-B41D-48EF957F02BC}" dt="2024-06-17T22:30:18.486" v="2850" actId="1076"/>
          <ac:spMkLst>
            <pc:docMk/>
            <pc:sldMk cId="3220162634" sldId="2147310013"/>
            <ac:spMk id="38" creationId="{01BD3907-257A-9B49-612D-779EAD43FA17}"/>
          </ac:spMkLst>
        </pc:spChg>
        <pc:spChg chg="mod">
          <ac:chgData name="Fernando Enrique Nuñez Zapata" userId="4887fb29-3871-42a7-b0aa-ea8d45a5c181" providerId="ADAL" clId="{6433A103-435F-4B8D-B41D-48EF957F02BC}" dt="2024-06-17T22:38:39.615" v="2883" actId="1038"/>
          <ac:spMkLst>
            <pc:docMk/>
            <pc:sldMk cId="3220162634" sldId="2147310013"/>
            <ac:spMk id="48" creationId="{00F49C6B-A09B-C3C2-0CA5-E99B0BDAC31D}"/>
          </ac:spMkLst>
        </pc:spChg>
        <pc:spChg chg="mod">
          <ac:chgData name="Fernando Enrique Nuñez Zapata" userId="4887fb29-3871-42a7-b0aa-ea8d45a5c181" providerId="ADAL" clId="{6433A103-435F-4B8D-B41D-48EF957F02BC}" dt="2024-06-17T22:28:56.355" v="2844" actId="113"/>
          <ac:spMkLst>
            <pc:docMk/>
            <pc:sldMk cId="3220162634" sldId="2147310013"/>
            <ac:spMk id="52" creationId="{D3025A42-AB12-02DF-F704-5ED0E025B12F}"/>
          </ac:spMkLst>
        </pc:spChg>
        <pc:spChg chg="mod">
          <ac:chgData name="Fernando Enrique Nuñez Zapata" userId="4887fb29-3871-42a7-b0aa-ea8d45a5c181" providerId="ADAL" clId="{6433A103-435F-4B8D-B41D-48EF957F02BC}" dt="2024-06-17T22:28:43.026" v="2842" actId="20577"/>
          <ac:spMkLst>
            <pc:docMk/>
            <pc:sldMk cId="3220162634" sldId="2147310013"/>
            <ac:spMk id="53" creationId="{FA42AA40-A391-EC6A-40D7-8F46A9ED8DE4}"/>
          </ac:spMkLst>
        </pc:spChg>
        <pc:spChg chg="mod">
          <ac:chgData name="Fernando Enrique Nuñez Zapata" userId="4887fb29-3871-42a7-b0aa-ea8d45a5c181" providerId="ADAL" clId="{6433A103-435F-4B8D-B41D-48EF957F02BC}" dt="2024-06-17T22:30:04.346" v="2847" actId="1076"/>
          <ac:spMkLst>
            <pc:docMk/>
            <pc:sldMk cId="3220162634" sldId="2147310013"/>
            <ac:spMk id="85" creationId="{A190D0B4-92ED-1A31-8614-795A6D20A889}"/>
          </ac:spMkLst>
        </pc:spChg>
        <pc:graphicFrameChg chg="modGraphic">
          <ac:chgData name="Fernando Enrique Nuñez Zapata" userId="4887fb29-3871-42a7-b0aa-ea8d45a5c181" providerId="ADAL" clId="{6433A103-435F-4B8D-B41D-48EF957F02BC}" dt="2024-06-19T15:51:57.487" v="3438" actId="2057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32:37.717" v="3675" actId="20577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9T21:31:34.834" v="3673" actId="20577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</pc:sldChg>
      <pc:sldChg chg="delSp modSp mod">
        <pc:chgData name="Fernando Enrique Nuñez Zapata" userId="4887fb29-3871-42a7-b0aa-ea8d45a5c181" providerId="ADAL" clId="{6433A103-435F-4B8D-B41D-48EF957F02BC}" dt="2024-06-19T22:51:45.733" v="3841" actId="207"/>
        <pc:sldMkLst>
          <pc:docMk/>
          <pc:sldMk cId="649892551" sldId="2147310016"/>
        </pc:sldMkLst>
        <pc:spChg chg="mod">
          <ac:chgData name="Fernando Enrique Nuñez Zapata" userId="4887fb29-3871-42a7-b0aa-ea8d45a5c181" providerId="ADAL" clId="{6433A103-435F-4B8D-B41D-48EF957F02BC}" dt="2024-06-17T22:59:46.880" v="3216" actId="1076"/>
          <ac:spMkLst>
            <pc:docMk/>
            <pc:sldMk cId="649892551" sldId="2147310016"/>
            <ac:spMk id="3" creationId="{F7604BD2-6F6E-AB13-72B2-49C43AE87223}"/>
          </ac:spMkLst>
        </pc:spChg>
        <pc:spChg chg="mod">
          <ac:chgData name="Fernando Enrique Nuñez Zapata" userId="4887fb29-3871-42a7-b0aa-ea8d45a5c181" providerId="ADAL" clId="{6433A103-435F-4B8D-B41D-48EF957F02BC}" dt="2024-06-17T22:56:18.098" v="3170" actId="1036"/>
          <ac:spMkLst>
            <pc:docMk/>
            <pc:sldMk cId="649892551" sldId="2147310016"/>
            <ac:spMk id="4" creationId="{04E43BBB-EA3E-3DDB-703F-BAA56C74AD1D}"/>
          </ac:spMkLst>
        </pc:spChg>
        <pc:spChg chg="mod">
          <ac:chgData name="Fernando Enrique Nuñez Zapata" userId="4887fb29-3871-42a7-b0aa-ea8d45a5c181" providerId="ADAL" clId="{6433A103-435F-4B8D-B41D-48EF957F02BC}" dt="2024-06-17T22:56:52.322" v="3179" actId="1035"/>
          <ac:spMkLst>
            <pc:docMk/>
            <pc:sldMk cId="649892551" sldId="2147310016"/>
            <ac:spMk id="7" creationId="{82F30E2E-4977-1265-1A3D-D94DC686357F}"/>
          </ac:spMkLst>
        </pc:spChg>
        <pc:spChg chg="mod">
          <ac:chgData name="Fernando Enrique Nuñez Zapata" userId="4887fb29-3871-42a7-b0aa-ea8d45a5c181" providerId="ADAL" clId="{6433A103-435F-4B8D-B41D-48EF957F02BC}" dt="2024-06-19T22:51:45.733" v="3841" actId="207"/>
          <ac:spMkLst>
            <pc:docMk/>
            <pc:sldMk cId="649892551" sldId="2147310016"/>
            <ac:spMk id="9" creationId="{4ED63805-5BE0-FEAD-D302-14D9EB1A0EAE}"/>
          </ac:spMkLst>
        </pc:spChg>
        <pc:spChg chg="mod">
          <ac:chgData name="Fernando Enrique Nuñez Zapata" userId="4887fb29-3871-42a7-b0aa-ea8d45a5c181" providerId="ADAL" clId="{6433A103-435F-4B8D-B41D-48EF957F02BC}" dt="2024-06-17T22:56:05.497" v="3135" actId="1035"/>
          <ac:spMkLst>
            <pc:docMk/>
            <pc:sldMk cId="649892551" sldId="2147310016"/>
            <ac:spMk id="10" creationId="{1F8C62CE-5585-2AAC-99BF-93AB8D7080A4}"/>
          </ac:spMkLst>
        </pc:spChg>
        <pc:spChg chg="mod">
          <ac:chgData name="Fernando Enrique Nuñez Zapata" userId="4887fb29-3871-42a7-b0aa-ea8d45a5c181" providerId="ADAL" clId="{6433A103-435F-4B8D-B41D-48EF957F02BC}" dt="2024-06-11T15:50:46.992" v="34" actId="20577"/>
          <ac:spMkLst>
            <pc:docMk/>
            <pc:sldMk cId="649892551" sldId="2147310016"/>
            <ac:spMk id="11" creationId="{0FA3F142-40A5-149A-EFA0-D68F2A7B17C4}"/>
          </ac:spMkLst>
        </pc:spChg>
        <pc:spChg chg="mod">
          <ac:chgData name="Fernando Enrique Nuñez Zapata" userId="4887fb29-3871-42a7-b0aa-ea8d45a5c181" providerId="ADAL" clId="{6433A103-435F-4B8D-B41D-48EF957F02BC}" dt="2024-06-17T22:57:03.201" v="3208" actId="1035"/>
          <ac:spMkLst>
            <pc:docMk/>
            <pc:sldMk cId="649892551" sldId="2147310016"/>
            <ac:spMk id="20" creationId="{AC6B803E-94E0-35E0-B51B-07C00C789ADB}"/>
          </ac:spMkLst>
        </pc:spChg>
        <pc:spChg chg="mod">
          <ac:chgData name="Fernando Enrique Nuñez Zapata" userId="4887fb29-3871-42a7-b0aa-ea8d45a5c181" providerId="ADAL" clId="{6433A103-435F-4B8D-B41D-48EF957F02BC}" dt="2024-06-17T15:03:32.251" v="1079" actId="1035"/>
          <ac:spMkLst>
            <pc:docMk/>
            <pc:sldMk cId="649892551" sldId="2147310016"/>
            <ac:spMk id="21" creationId="{20AD9757-39DA-3B1C-AD63-40330654CD06}"/>
          </ac:spMkLst>
        </pc:spChg>
        <pc:spChg chg="del mod">
          <ac:chgData name="Fernando Enrique Nuñez Zapata" userId="4887fb29-3871-42a7-b0aa-ea8d45a5c181" providerId="ADAL" clId="{6433A103-435F-4B8D-B41D-48EF957F02BC}" dt="2024-06-17T22:46:58.043" v="2918" actId="478"/>
          <ac:spMkLst>
            <pc:docMk/>
            <pc:sldMk cId="649892551" sldId="2147310016"/>
            <ac:spMk id="22" creationId="{2CE931B5-3748-DDDE-60AA-2F9C04678BCA}"/>
          </ac:spMkLst>
        </pc:spChg>
        <pc:spChg chg="mod">
          <ac:chgData name="Fernando Enrique Nuñez Zapata" userId="4887fb29-3871-42a7-b0aa-ea8d45a5c181" providerId="ADAL" clId="{6433A103-435F-4B8D-B41D-48EF957F02BC}" dt="2024-06-17T15:03:32.251" v="1079" actId="1035"/>
          <ac:spMkLst>
            <pc:docMk/>
            <pc:sldMk cId="649892551" sldId="2147310016"/>
            <ac:spMk id="23" creationId="{DA8DED9F-196D-2B97-7FC0-B8775D127742}"/>
          </ac:spMkLst>
        </pc:spChg>
        <pc:spChg chg="mod">
          <ac:chgData name="Fernando Enrique Nuñez Zapata" userId="4887fb29-3871-42a7-b0aa-ea8d45a5c181" providerId="ADAL" clId="{6433A103-435F-4B8D-B41D-48EF957F02BC}" dt="2024-06-17T22:55:50.386" v="3102" actId="1036"/>
          <ac:spMkLst>
            <pc:docMk/>
            <pc:sldMk cId="649892551" sldId="2147310016"/>
            <ac:spMk id="26" creationId="{5382A627-FC6C-DA7C-9A6A-08AE68626876}"/>
          </ac:spMkLst>
        </pc:spChg>
        <pc:spChg chg="mod">
          <ac:chgData name="Fernando Enrique Nuñez Zapata" userId="4887fb29-3871-42a7-b0aa-ea8d45a5c181" providerId="ADAL" clId="{6433A103-435F-4B8D-B41D-48EF957F02BC}" dt="2024-06-17T22:55:54.081" v="3113" actId="1036"/>
          <ac:spMkLst>
            <pc:docMk/>
            <pc:sldMk cId="649892551" sldId="2147310016"/>
            <ac:spMk id="27" creationId="{58E23F92-9A62-D3A4-1FE2-3529B6DB7DBD}"/>
          </ac:spMkLst>
        </pc:spChg>
        <pc:spChg chg="mod">
          <ac:chgData name="Fernando Enrique Nuñez Zapata" userId="4887fb29-3871-42a7-b0aa-ea8d45a5c181" providerId="ADAL" clId="{6433A103-435F-4B8D-B41D-48EF957F02BC}" dt="2024-06-17T22:56:01.150" v="3124" actId="1035"/>
          <ac:spMkLst>
            <pc:docMk/>
            <pc:sldMk cId="649892551" sldId="2147310016"/>
            <ac:spMk id="28" creationId="{EA449AF5-028F-F2DA-6746-EA3415C9FB3E}"/>
          </ac:spMkLst>
        </pc:spChg>
        <pc:spChg chg="mod">
          <ac:chgData name="Fernando Enrique Nuñez Zapata" userId="4887fb29-3871-42a7-b0aa-ea8d45a5c181" providerId="ADAL" clId="{6433A103-435F-4B8D-B41D-48EF957F02BC}" dt="2024-06-17T22:56:10.227" v="3147" actId="1035"/>
          <ac:spMkLst>
            <pc:docMk/>
            <pc:sldMk cId="649892551" sldId="2147310016"/>
            <ac:spMk id="29" creationId="{0DA9DC56-81B7-4999-CB65-AFB91031845A}"/>
          </ac:spMkLst>
        </pc:spChg>
        <pc:spChg chg="mod">
          <ac:chgData name="Fernando Enrique Nuñez Zapata" userId="4887fb29-3871-42a7-b0aa-ea8d45a5c181" providerId="ADAL" clId="{6433A103-435F-4B8D-B41D-48EF957F02BC}" dt="2024-06-17T22:56:59.231" v="3196" actId="1035"/>
          <ac:spMkLst>
            <pc:docMk/>
            <pc:sldMk cId="649892551" sldId="2147310016"/>
            <ac:spMk id="30" creationId="{464DA85C-B417-70D8-A89B-2B69AB01AAF1}"/>
          </ac:spMkLst>
        </pc:spChg>
        <pc:graphicFrameChg chg="mod modGraphic">
          <ac:chgData name="Fernando Enrique Nuñez Zapata" userId="4887fb29-3871-42a7-b0aa-ea8d45a5c181" providerId="ADAL" clId="{6433A103-435F-4B8D-B41D-48EF957F02BC}" dt="2024-06-18T20:17:05.169" v="3329" actId="13926"/>
          <ac:graphicFrameMkLst>
            <pc:docMk/>
            <pc:sldMk cId="649892551" sldId="2147310016"/>
            <ac:graphicFrameMk id="13" creationId="{BC0710D6-135E-EDE0-0A2D-C2D70100BF45}"/>
          </ac:graphicFrameMkLst>
        </pc:graphicFrameChg>
      </pc:sldChg>
      <pc:sldChg chg="addSp delSp modSp mod">
        <pc:chgData name="Fernando Enrique Nuñez Zapata" userId="4887fb29-3871-42a7-b0aa-ea8d45a5c181" providerId="ADAL" clId="{6433A103-435F-4B8D-B41D-48EF957F02BC}" dt="2024-06-19T22:28:04.343" v="3790" actId="20577"/>
        <pc:sldMkLst>
          <pc:docMk/>
          <pc:sldMk cId="2084330027" sldId="2147310017"/>
        </pc:sldMkLst>
        <pc:spChg chg="mod">
          <ac:chgData name="Fernando Enrique Nuñez Zapata" userId="4887fb29-3871-42a7-b0aa-ea8d45a5c181" providerId="ADAL" clId="{6433A103-435F-4B8D-B41D-48EF957F02BC}" dt="2024-06-19T22:28:04.343" v="3790" actId="20577"/>
          <ac:spMkLst>
            <pc:docMk/>
            <pc:sldMk cId="2084330027" sldId="2147310017"/>
            <ac:spMk id="8" creationId="{5129EA4E-E527-9532-61E7-C3FF28C3F410}"/>
          </ac:spMkLst>
        </pc:spChg>
        <pc:graphicFrameChg chg="add mod">
          <ac:chgData name="Fernando Enrique Nuñez Zapata" userId="4887fb29-3871-42a7-b0aa-ea8d45a5c181" providerId="ADAL" clId="{6433A103-435F-4B8D-B41D-48EF957F02BC}" dt="2024-06-19T22:11:42.416" v="3686"/>
          <ac:graphicFrameMkLst>
            <pc:docMk/>
            <pc:sldMk cId="2084330027" sldId="2147310017"/>
            <ac:graphicFrameMk id="2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12:50.288" v="3702"/>
          <ac:graphicFrameMkLst>
            <pc:docMk/>
            <pc:sldMk cId="2084330027" sldId="2147310017"/>
            <ac:graphicFrameMk id="3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3:03.158" v="3706" actId="478"/>
          <ac:graphicFrameMkLst>
            <pc:docMk/>
            <pc:sldMk cId="2084330027" sldId="2147310017"/>
            <ac:graphicFrameMk id="5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4:28.815" v="3724" actId="478"/>
          <ac:graphicFrameMkLst>
            <pc:docMk/>
            <pc:sldMk cId="2084330027" sldId="2147310017"/>
            <ac:graphicFrameMk id="9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13:14.035" v="3709"/>
          <ac:graphicFrameMkLst>
            <pc:docMk/>
            <pc:sldMk cId="2084330027" sldId="2147310017"/>
            <ac:graphicFrameMk id="10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3:32.221" v="3713" actId="478"/>
          <ac:graphicFrameMkLst>
            <pc:docMk/>
            <pc:sldMk cId="2084330027" sldId="2147310017"/>
            <ac:graphicFrameMk id="13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3:44.273" v="3716" actId="478"/>
          <ac:graphicFrameMkLst>
            <pc:docMk/>
            <pc:sldMk cId="2084330027" sldId="2147310017"/>
            <ac:graphicFrameMk id="14" creationId="{EE848D58-61B2-4933-A7BB-DB60E392EA8D}"/>
          </ac:graphicFrameMkLst>
        </pc:graphicFrameChg>
        <pc:graphicFrameChg chg="add del mod">
          <ac:chgData name="Fernando Enrique Nuñez Zapata" userId="4887fb29-3871-42a7-b0aa-ea8d45a5c181" providerId="ADAL" clId="{6433A103-435F-4B8D-B41D-48EF957F02BC}" dt="2024-06-19T22:17:16.103" v="3726" actId="478"/>
          <ac:graphicFrameMkLst>
            <pc:docMk/>
            <pc:sldMk cId="2084330027" sldId="2147310017"/>
            <ac:graphicFrameMk id="22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1:27.729" v="3729"/>
          <ac:graphicFrameMkLst>
            <pc:docMk/>
            <pc:sldMk cId="2084330027" sldId="2147310017"/>
            <ac:graphicFrameMk id="25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2:09.646" v="3738" actId="14100"/>
          <ac:graphicFrameMkLst>
            <pc:docMk/>
            <pc:sldMk cId="2084330027" sldId="2147310017"/>
            <ac:graphicFrameMk id="26" creationId="{EE848D58-61B2-4933-A7BB-DB60E392EA8D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2:22.292" v="3741"/>
          <ac:graphicFrameMkLst>
            <pc:docMk/>
            <pc:sldMk cId="2084330027" sldId="2147310017"/>
            <ac:graphicFrameMk id="27" creationId="{4DC0704C-7EB4-4BF7-A0CF-FF0BBE31F4DD}"/>
          </ac:graphicFrameMkLst>
        </pc:graphicFrameChg>
        <pc:graphicFrameChg chg="del mod">
          <ac:chgData name="Fernando Enrique Nuñez Zapata" userId="4887fb29-3871-42a7-b0aa-ea8d45a5c181" providerId="ADAL" clId="{6433A103-435F-4B8D-B41D-48EF957F02BC}" dt="2024-06-19T22:22:51.210" v="3748" actId="478"/>
          <ac:graphicFrameMkLst>
            <pc:docMk/>
            <pc:sldMk cId="2084330027" sldId="2147310017"/>
            <ac:graphicFrameMk id="28" creationId="{4DC0704C-7EB4-4BF7-A0CF-FF0BBE31F4DD}"/>
          </ac:graphicFrameMkLst>
        </pc:graphicFrameChg>
        <pc:graphicFrameChg chg="del">
          <ac:chgData name="Fernando Enrique Nuñez Zapata" userId="4887fb29-3871-42a7-b0aa-ea8d45a5c181" providerId="ADAL" clId="{6433A103-435F-4B8D-B41D-48EF957F02BC}" dt="2024-06-19T22:24:12.986" v="3758" actId="478"/>
          <ac:graphicFrameMkLst>
            <pc:docMk/>
            <pc:sldMk cId="2084330027" sldId="2147310017"/>
            <ac:graphicFrameMk id="29" creationId="{C01F56F9-A316-448A-9A4A-BD0E8DE6E225}"/>
          </ac:graphicFrameMkLst>
        </pc:graphicFrameChg>
        <pc:graphicFrameChg chg="del">
          <ac:chgData name="Fernando Enrique Nuñez Zapata" userId="4887fb29-3871-42a7-b0aa-ea8d45a5c181" providerId="ADAL" clId="{6433A103-435F-4B8D-B41D-48EF957F02BC}" dt="2024-06-19T22:24:57.301" v="3764" actId="478"/>
          <ac:graphicFrameMkLst>
            <pc:docMk/>
            <pc:sldMk cId="2084330027" sldId="2147310017"/>
            <ac:graphicFrameMk id="30" creationId="{80518FF7-E91E-47DE-96AF-C763E7E0CF02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3:34.779" v="3751" actId="14100"/>
          <ac:graphicFrameMkLst>
            <pc:docMk/>
            <pc:sldMk cId="2084330027" sldId="2147310017"/>
            <ac:graphicFrameMk id="31" creationId="{4DC0704C-7EB4-4BF7-A0CF-FF0BBE31F4DD}"/>
          </ac:graphicFrameMkLst>
        </pc:graphicFrameChg>
        <pc:graphicFrameChg chg="del">
          <ac:chgData name="Fernando Enrique Nuñez Zapata" userId="4887fb29-3871-42a7-b0aa-ea8d45a5c181" providerId="ADAL" clId="{6433A103-435F-4B8D-B41D-48EF957F02BC}" dt="2024-06-19T22:25:49.785" v="3771" actId="478"/>
          <ac:graphicFrameMkLst>
            <pc:docMk/>
            <pc:sldMk cId="2084330027" sldId="2147310017"/>
            <ac:graphicFrameMk id="32" creationId="{77DE74BA-584F-402F-8D33-508233DC17CC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4:26.130" v="3759" actId="1076"/>
          <ac:graphicFrameMkLst>
            <pc:docMk/>
            <pc:sldMk cId="2084330027" sldId="2147310017"/>
            <ac:graphicFrameMk id="33" creationId="{C01F56F9-A316-448A-9A4A-BD0E8DE6E225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5:37.578" v="3770" actId="14100"/>
          <ac:graphicFrameMkLst>
            <pc:docMk/>
            <pc:sldMk cId="2084330027" sldId="2147310017"/>
            <ac:graphicFrameMk id="34" creationId="{80518FF7-E91E-47DE-96AF-C763E7E0CF02}"/>
          </ac:graphicFrameMkLst>
        </pc:graphicFrameChg>
        <pc:graphicFrameChg chg="add mod">
          <ac:chgData name="Fernando Enrique Nuñez Zapata" userId="4887fb29-3871-42a7-b0aa-ea8d45a5c181" providerId="ADAL" clId="{6433A103-435F-4B8D-B41D-48EF957F02BC}" dt="2024-06-19T22:26:53.598" v="3779" actId="207"/>
          <ac:graphicFrameMkLst>
            <pc:docMk/>
            <pc:sldMk cId="2084330027" sldId="2147310017"/>
            <ac:graphicFrameMk id="35" creationId="{77DE74BA-584F-402F-8D33-508233DC17CC}"/>
          </ac:graphicFrameMkLst>
        </pc:graphicFrameChg>
      </pc:sldChg>
      <pc:sldChg chg="modSp mod">
        <pc:chgData name="Fernando Enrique Nuñez Zapata" userId="4887fb29-3871-42a7-b0aa-ea8d45a5c181" providerId="ADAL" clId="{6433A103-435F-4B8D-B41D-48EF957F02BC}" dt="2024-06-19T22:39:10.661" v="3840" actId="13926"/>
        <pc:sldMkLst>
          <pc:docMk/>
          <pc:sldMk cId="151272569" sldId="2147310022"/>
        </pc:sldMkLst>
        <pc:spChg chg="mod">
          <ac:chgData name="Fernando Enrique Nuñez Zapata" userId="4887fb29-3871-42a7-b0aa-ea8d45a5c181" providerId="ADAL" clId="{6433A103-435F-4B8D-B41D-48EF957F02BC}" dt="2024-06-11T15:51:19.312" v="43" actId="20577"/>
          <ac:spMkLst>
            <pc:docMk/>
            <pc:sldMk cId="151272569" sldId="2147310022"/>
            <ac:spMk id="52" creationId="{C8FB4903-0BB1-5810-5560-625DD68FEDC7}"/>
          </ac:spMkLst>
        </pc:spChg>
        <pc:spChg chg="mod">
          <ac:chgData name="Fernando Enrique Nuñez Zapata" userId="4887fb29-3871-42a7-b0aa-ea8d45a5c181" providerId="ADAL" clId="{6433A103-435F-4B8D-B41D-48EF957F02BC}" dt="2024-06-19T15:47:03.735" v="3398" actId="108"/>
          <ac:spMkLst>
            <pc:docMk/>
            <pc:sldMk cId="151272569" sldId="2147310022"/>
            <ac:spMk id="83" creationId="{BD8B9C89-37DB-EAA7-AD36-2B8F817CC88C}"/>
          </ac:spMkLst>
        </pc:spChg>
        <pc:graphicFrameChg chg="modGraphic">
          <ac:chgData name="Fernando Enrique Nuñez Zapata" userId="4887fb29-3871-42a7-b0aa-ea8d45a5c181" providerId="ADAL" clId="{6433A103-435F-4B8D-B41D-48EF957F02BC}" dt="2024-06-19T15:43:56.336" v="3396" actId="207"/>
          <ac:graphicFrameMkLst>
            <pc:docMk/>
            <pc:sldMk cId="151272569" sldId="2147310022"/>
            <ac:graphicFrameMk id="22" creationId="{0CF90B55-9125-829B-1706-2CC9981707E1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15:39:11.859" v="3368" actId="20577"/>
          <ac:graphicFrameMkLst>
            <pc:docMk/>
            <pc:sldMk cId="151272569" sldId="2147310022"/>
            <ac:graphicFrameMk id="24" creationId="{CEB09712-9160-9EEB-727B-50729D1044B5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15:44:02.849" v="3397" actId="20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14:30:38.858" v="3354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22:39:10.661" v="3840" actId="13926"/>
          <ac:graphicFrameMkLst>
            <pc:docMk/>
            <pc:sldMk cId="151272569" sldId="2147310022"/>
            <ac:graphicFrameMk id="53" creationId="{618955C3-E208-AFCE-12BC-3E76CA8E34B1}"/>
          </ac:graphicFrameMkLst>
        </pc:graphicFrameChg>
        <pc:graphicFrameChg chg="mod modGraphic">
          <ac:chgData name="Fernando Enrique Nuñez Zapata" userId="4887fb29-3871-42a7-b0aa-ea8d45a5c181" providerId="ADAL" clId="{6433A103-435F-4B8D-B41D-48EF957F02BC}" dt="2024-06-11T15:52:38.474" v="47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graphicFrameChg chg="modGraphic">
          <ac:chgData name="Fernando Enrique Nuñez Zapata" userId="4887fb29-3871-42a7-b0aa-ea8d45a5c181" providerId="ADAL" clId="{6433A103-435F-4B8D-B41D-48EF957F02BC}" dt="2024-06-19T22:38:11.508" v="3823" actId="13926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</pc:sldChg>
      <pc:sldChg chg="del">
        <pc:chgData name="Fernando Enrique Nuñez Zapata" userId="4887fb29-3871-42a7-b0aa-ea8d45a5c181" providerId="ADAL" clId="{6433A103-435F-4B8D-B41D-48EF957F02BC}" dt="2024-06-17T22:59:33.952" v="3214" actId="47"/>
        <pc:sldMkLst>
          <pc:docMk/>
          <pc:sldMk cId="2835517765" sldId="2147310024"/>
        </pc:sldMkLst>
      </pc:sldChg>
      <pc:sldChg chg="del">
        <pc:chgData name="Fernando Enrique Nuñez Zapata" userId="4887fb29-3871-42a7-b0aa-ea8d45a5c181" providerId="ADAL" clId="{6433A103-435F-4B8D-B41D-48EF957F02BC}" dt="2024-06-17T22:59:34.560" v="3215" actId="47"/>
        <pc:sldMkLst>
          <pc:docMk/>
          <pc:sldMk cId="1529433587" sldId="2147310025"/>
        </pc:sldMkLst>
      </pc:sldChg>
    </pc:docChg>
  </pc:docChgLst>
  <pc:docChgLst>
    <pc:chgData name="Juan Enrique Córdova Woo" userId="48e678bc-df39-4a8a-a383-6b816eb75cf2" providerId="ADAL" clId="{46D2ED2C-1B68-430F-A45B-FF2C037E1A39}"/>
    <pc:docChg chg="custSel modSld">
      <pc:chgData name="Juan Enrique Córdova Woo" userId="48e678bc-df39-4a8a-a383-6b816eb75cf2" providerId="ADAL" clId="{46D2ED2C-1B68-430F-A45B-FF2C037E1A39}" dt="2024-06-19T22:02:58.723" v="30" actId="27918"/>
      <pc:docMkLst>
        <pc:docMk/>
      </pc:docMkLst>
      <pc:sldChg chg="mod">
        <pc:chgData name="Juan Enrique Córdova Woo" userId="48e678bc-df39-4a8a-a383-6b816eb75cf2" providerId="ADAL" clId="{46D2ED2C-1B68-430F-A45B-FF2C037E1A39}" dt="2024-06-19T22:02:58.723" v="30" actId="27918"/>
        <pc:sldMkLst>
          <pc:docMk/>
          <pc:sldMk cId="2084330027" sldId="2147310017"/>
        </pc:sldMkLst>
      </pc:sldChg>
      <pc:sldChg chg="addSp delSp modSp mod">
        <pc:chgData name="Juan Enrique Córdova Woo" userId="48e678bc-df39-4a8a-a383-6b816eb75cf2" providerId="ADAL" clId="{46D2ED2C-1B68-430F-A45B-FF2C037E1A39}" dt="2024-06-19T22:01:51.515" v="27" actId="478"/>
        <pc:sldMkLst>
          <pc:docMk/>
          <pc:sldMk cId="151272569" sldId="2147310022"/>
        </pc:sldMkLst>
        <pc:graphicFrameChg chg="modGraphic">
          <ac:chgData name="Juan Enrique Córdova Woo" userId="48e678bc-df39-4a8a-a383-6b816eb75cf2" providerId="ADAL" clId="{46D2ED2C-1B68-430F-A45B-FF2C037E1A39}" dt="2024-06-19T22:01:49.564" v="26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Juan Enrique Córdova Woo" userId="48e678bc-df39-4a8a-a383-6b816eb75cf2" providerId="ADAL" clId="{46D2ED2C-1B68-430F-A45B-FF2C037E1A39}" dt="2024-06-19T22:00:32.070" v="14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picChg chg="add del">
          <ac:chgData name="Juan Enrique Córdova Woo" userId="48e678bc-df39-4a8a-a383-6b816eb75cf2" providerId="ADAL" clId="{46D2ED2C-1B68-430F-A45B-FF2C037E1A39}" dt="2024-06-19T21:59:25.711" v="1" actId="478"/>
          <ac:picMkLst>
            <pc:docMk/>
            <pc:sldMk cId="151272569" sldId="2147310022"/>
            <ac:picMk id="5" creationId="{3E4C19AA-DF40-7A61-4170-63B197631B72}"/>
          </ac:picMkLst>
        </pc:picChg>
        <pc:picChg chg="add del mod">
          <ac:chgData name="Juan Enrique Córdova Woo" userId="48e678bc-df39-4a8a-a383-6b816eb75cf2" providerId="ADAL" clId="{46D2ED2C-1B68-430F-A45B-FF2C037E1A39}" dt="2024-06-19T22:00:34.062" v="15" actId="478"/>
          <ac:picMkLst>
            <pc:docMk/>
            <pc:sldMk cId="151272569" sldId="2147310022"/>
            <ac:picMk id="10" creationId="{FC580779-766C-3ED9-AB24-9AA1FBD8A34F}"/>
          </ac:picMkLst>
        </pc:picChg>
        <pc:picChg chg="add del mod">
          <ac:chgData name="Juan Enrique Córdova Woo" userId="48e678bc-df39-4a8a-a383-6b816eb75cf2" providerId="ADAL" clId="{46D2ED2C-1B68-430F-A45B-FF2C037E1A39}" dt="2024-06-19T22:01:51.515" v="27" actId="478"/>
          <ac:picMkLst>
            <pc:docMk/>
            <pc:sldMk cId="151272569" sldId="2147310022"/>
            <ac:picMk id="11" creationId="{87ED6E44-0C1F-A275-D1B5-F8C3FEE1A6EC}"/>
          </ac:picMkLst>
        </pc:picChg>
      </pc:sldChg>
    </pc:docChg>
  </pc:docChgLst>
  <pc:docChgLst>
    <pc:chgData name="Fernando Enrique Nuñez Zapata" userId="4887fb29-3871-42a7-b0aa-ea8d45a5c181" providerId="ADAL" clId="{C49C2598-DE4D-4CD0-A197-C1971AACDF4C}"/>
    <pc:docChg chg="undo redo custSel addSld delSld modSld modSection">
      <pc:chgData name="Fernando Enrique Nuñez Zapata" userId="4887fb29-3871-42a7-b0aa-ea8d45a5c181" providerId="ADAL" clId="{C49C2598-DE4D-4CD0-A197-C1971AACDF4C}" dt="2024-09-18T22:25:46.661" v="2904" actId="20577"/>
      <pc:docMkLst>
        <pc:docMk/>
      </pc:docMkLst>
      <pc:sldChg chg="modSp mod">
        <pc:chgData name="Fernando Enrique Nuñez Zapata" userId="4887fb29-3871-42a7-b0aa-ea8d45a5c181" providerId="ADAL" clId="{C49C2598-DE4D-4CD0-A197-C1971AACDF4C}" dt="2024-09-10T15:16:18.824" v="19" actId="20577"/>
        <pc:sldMkLst>
          <pc:docMk/>
          <pc:sldMk cId="2525707367" sldId="272"/>
        </pc:sldMkLst>
        <pc:spChg chg="mod">
          <ac:chgData name="Fernando Enrique Nuñez Zapata" userId="4887fb29-3871-42a7-b0aa-ea8d45a5c181" providerId="ADAL" clId="{C49C2598-DE4D-4CD0-A197-C1971AACDF4C}" dt="2024-09-10T15:16:18.824" v="19" actId="20577"/>
          <ac:spMkLst>
            <pc:docMk/>
            <pc:sldMk cId="2525707367" sldId="272"/>
            <ac:spMk id="5" creationId="{AEEBF140-B757-413E-7EC8-737EE86AFB77}"/>
          </ac:spMkLst>
        </pc:spChg>
      </pc:sldChg>
      <pc:sldChg chg="del">
        <pc:chgData name="Fernando Enrique Nuñez Zapata" userId="4887fb29-3871-42a7-b0aa-ea8d45a5c181" providerId="ADAL" clId="{C49C2598-DE4D-4CD0-A197-C1971AACDF4C}" dt="2024-09-10T17:04:39.431" v="202" actId="47"/>
        <pc:sldMkLst>
          <pc:docMk/>
          <pc:sldMk cId="3859250616" sldId="2147310010"/>
        </pc:sldMkLst>
      </pc:sldChg>
      <pc:sldChg chg="del">
        <pc:chgData name="Fernando Enrique Nuñez Zapata" userId="4887fb29-3871-42a7-b0aa-ea8d45a5c181" providerId="ADAL" clId="{C49C2598-DE4D-4CD0-A197-C1971AACDF4C}" dt="2024-09-10T18:00:36.702" v="439" actId="47"/>
        <pc:sldMkLst>
          <pc:docMk/>
          <pc:sldMk cId="659418568" sldId="2147310011"/>
        </pc:sldMkLst>
      </pc:sldChg>
      <pc:sldChg chg="del">
        <pc:chgData name="Fernando Enrique Nuñez Zapata" userId="4887fb29-3871-42a7-b0aa-ea8d45a5c181" providerId="ADAL" clId="{C49C2598-DE4D-4CD0-A197-C1971AACDF4C}" dt="2024-09-10T18:12:03.034" v="570" actId="47"/>
        <pc:sldMkLst>
          <pc:docMk/>
          <pc:sldMk cId="1253964456" sldId="2147310012"/>
        </pc:sldMkLst>
      </pc:sldChg>
      <pc:sldChg chg="del">
        <pc:chgData name="Fernando Enrique Nuñez Zapata" userId="4887fb29-3871-42a7-b0aa-ea8d45a5c181" providerId="ADAL" clId="{C49C2598-DE4D-4CD0-A197-C1971AACDF4C}" dt="2024-09-10T18:22:34.044" v="712" actId="47"/>
        <pc:sldMkLst>
          <pc:docMk/>
          <pc:sldMk cId="3220162634" sldId="2147310013"/>
        </pc:sldMkLst>
      </pc:sldChg>
      <pc:sldChg chg="delSp modSp mod">
        <pc:chgData name="Fernando Enrique Nuñez Zapata" userId="4887fb29-3871-42a7-b0aa-ea8d45a5c181" providerId="ADAL" clId="{C49C2598-DE4D-4CD0-A197-C1971AACDF4C}" dt="2024-09-17T14:58:21.021" v="1446" actId="1035"/>
        <pc:sldMkLst>
          <pc:docMk/>
          <pc:sldMk cId="649892551" sldId="2147310016"/>
        </pc:sldMkLst>
        <pc:spChg chg="mod">
          <ac:chgData name="Fernando Enrique Nuñez Zapata" userId="4887fb29-3871-42a7-b0aa-ea8d45a5c181" providerId="ADAL" clId="{C49C2598-DE4D-4CD0-A197-C1971AACDF4C}" dt="2024-09-17T14:58:21.021" v="1446" actId="1035"/>
          <ac:spMkLst>
            <pc:docMk/>
            <pc:sldMk cId="649892551" sldId="2147310016"/>
            <ac:spMk id="3" creationId="{FA867270-A122-D3FF-6F7C-DD3226EDC823}"/>
          </ac:spMkLst>
        </pc:spChg>
        <pc:spChg chg="mod">
          <ac:chgData name="Fernando Enrique Nuñez Zapata" userId="4887fb29-3871-42a7-b0aa-ea8d45a5c181" providerId="ADAL" clId="{C49C2598-DE4D-4CD0-A197-C1971AACDF4C}" dt="2024-09-17T14:57:20.027" v="1296" actId="1035"/>
          <ac:spMkLst>
            <pc:docMk/>
            <pc:sldMk cId="649892551" sldId="2147310016"/>
            <ac:spMk id="4" creationId="{737B1437-B402-40EB-F733-91C52CCC8949}"/>
          </ac:spMkLst>
        </pc:spChg>
        <pc:spChg chg="mod">
          <ac:chgData name="Fernando Enrique Nuñez Zapata" userId="4887fb29-3871-42a7-b0aa-ea8d45a5c181" providerId="ADAL" clId="{C49C2598-DE4D-4CD0-A197-C1971AACDF4C}" dt="2024-09-17T14:57:55.381" v="1366" actId="1036"/>
          <ac:spMkLst>
            <pc:docMk/>
            <pc:sldMk cId="649892551" sldId="2147310016"/>
            <ac:spMk id="7" creationId="{82F30E2E-4977-1265-1A3D-D94DC686357F}"/>
          </ac:spMkLst>
        </pc:spChg>
        <pc:spChg chg="mod">
          <ac:chgData name="Fernando Enrique Nuñez Zapata" userId="4887fb29-3871-42a7-b0aa-ea8d45a5c181" providerId="ADAL" clId="{C49C2598-DE4D-4CD0-A197-C1971AACDF4C}" dt="2024-09-17T14:57:49.772" v="1339" actId="1035"/>
          <ac:spMkLst>
            <pc:docMk/>
            <pc:sldMk cId="649892551" sldId="2147310016"/>
            <ac:spMk id="20" creationId="{AC6B803E-94E0-35E0-B51B-07C00C789ADB}"/>
          </ac:spMkLst>
        </pc:spChg>
        <pc:spChg chg="mod">
          <ac:chgData name="Fernando Enrique Nuñez Zapata" userId="4887fb29-3871-42a7-b0aa-ea8d45a5c181" providerId="ADAL" clId="{C49C2598-DE4D-4CD0-A197-C1971AACDF4C}" dt="2024-09-17T14:58:10.242" v="1417" actId="1036"/>
          <ac:spMkLst>
            <pc:docMk/>
            <pc:sldMk cId="649892551" sldId="2147310016"/>
            <ac:spMk id="21" creationId="{20AD9757-39DA-3B1C-AD63-40330654CD06}"/>
          </ac:spMkLst>
        </pc:spChg>
        <pc:spChg chg="del">
          <ac:chgData name="Fernando Enrique Nuñez Zapata" userId="4887fb29-3871-42a7-b0aa-ea8d45a5c181" providerId="ADAL" clId="{C49C2598-DE4D-4CD0-A197-C1971AACDF4C}" dt="2024-09-17T14:52:01.444" v="1055" actId="478"/>
          <ac:spMkLst>
            <pc:docMk/>
            <pc:sldMk cId="649892551" sldId="2147310016"/>
            <ac:spMk id="23" creationId="{DA8DED9F-196D-2B97-7FC0-B8775D127742}"/>
          </ac:spMkLst>
        </pc:spChg>
        <pc:spChg chg="mod">
          <ac:chgData name="Fernando Enrique Nuñez Zapata" userId="4887fb29-3871-42a7-b0aa-ea8d45a5c181" providerId="ADAL" clId="{C49C2598-DE4D-4CD0-A197-C1971AACDF4C}" dt="2024-09-17T14:58:16.436" v="1435" actId="1035"/>
          <ac:spMkLst>
            <pc:docMk/>
            <pc:sldMk cId="649892551" sldId="2147310016"/>
            <ac:spMk id="25" creationId="{91543693-6A5B-5D65-73B2-A3BB0988BD39}"/>
          </ac:spMkLst>
        </pc:spChg>
        <pc:spChg chg="mod">
          <ac:chgData name="Fernando Enrique Nuñez Zapata" userId="4887fb29-3871-42a7-b0aa-ea8d45a5c181" providerId="ADAL" clId="{C49C2598-DE4D-4CD0-A197-C1971AACDF4C}" dt="2024-09-17T14:58:06.398" v="1406" actId="1036"/>
          <ac:spMkLst>
            <pc:docMk/>
            <pc:sldMk cId="649892551" sldId="2147310016"/>
            <ac:spMk id="26" creationId="{5382A627-FC6C-DA7C-9A6A-08AE68626876}"/>
          </ac:spMkLst>
        </pc:spChg>
        <pc:spChg chg="mod">
          <ac:chgData name="Fernando Enrique Nuñez Zapata" userId="4887fb29-3871-42a7-b0aa-ea8d45a5c181" providerId="ADAL" clId="{C49C2598-DE4D-4CD0-A197-C1971AACDF4C}" dt="2024-09-17T14:58:00.313" v="1386" actId="1035"/>
          <ac:spMkLst>
            <pc:docMk/>
            <pc:sldMk cId="649892551" sldId="2147310016"/>
            <ac:spMk id="28" creationId="{EA449AF5-028F-F2DA-6746-EA3415C9FB3E}"/>
          </ac:spMkLst>
        </pc:spChg>
        <pc:spChg chg="del mod">
          <ac:chgData name="Fernando Enrique Nuñez Zapata" userId="4887fb29-3871-42a7-b0aa-ea8d45a5c181" providerId="ADAL" clId="{C49C2598-DE4D-4CD0-A197-C1971AACDF4C}" dt="2024-09-17T14:55:00.355" v="1106" actId="478"/>
          <ac:spMkLst>
            <pc:docMk/>
            <pc:sldMk cId="649892551" sldId="2147310016"/>
            <ac:spMk id="30" creationId="{464DA85C-B417-70D8-A89B-2B69AB01AAF1}"/>
          </ac:spMkLst>
        </pc:spChg>
        <pc:graphicFrameChg chg="mod modGraphic">
          <ac:chgData name="Fernando Enrique Nuñez Zapata" userId="4887fb29-3871-42a7-b0aa-ea8d45a5c181" providerId="ADAL" clId="{C49C2598-DE4D-4CD0-A197-C1971AACDF4C}" dt="2024-09-17T14:57:34.913" v="1320" actId="20577"/>
          <ac:graphicFrameMkLst>
            <pc:docMk/>
            <pc:sldMk cId="649892551" sldId="2147310016"/>
            <ac:graphicFrameMk id="13" creationId="{BC0710D6-135E-EDE0-0A2D-C2D70100BF45}"/>
          </ac:graphicFrameMkLst>
        </pc:graphicFrameChg>
      </pc:sldChg>
      <pc:sldChg chg="delSp modSp mod">
        <pc:chgData name="Fernando Enrique Nuñez Zapata" userId="4887fb29-3871-42a7-b0aa-ea8d45a5c181" providerId="ADAL" clId="{C49C2598-DE4D-4CD0-A197-C1971AACDF4C}" dt="2024-09-18T22:25:46.661" v="2904" actId="20577"/>
        <pc:sldMkLst>
          <pc:docMk/>
          <pc:sldMk cId="3746985532" sldId="2147310020"/>
        </pc:sldMkLst>
        <pc:spChg chg="mod">
          <ac:chgData name="Fernando Enrique Nuñez Zapata" userId="4887fb29-3871-42a7-b0aa-ea8d45a5c181" providerId="ADAL" clId="{C49C2598-DE4D-4CD0-A197-C1971AACDF4C}" dt="2024-09-18T22:25:46.661" v="2904" actId="20577"/>
          <ac:spMkLst>
            <pc:docMk/>
            <pc:sldMk cId="3746985532" sldId="2147310020"/>
            <ac:spMk id="5" creationId="{7615FE0C-E799-FE50-8E22-9CCED845BB78}"/>
          </ac:spMkLst>
        </pc:spChg>
        <pc:graphicFrameChg chg="del">
          <ac:chgData name="Fernando Enrique Nuñez Zapata" userId="4887fb29-3871-42a7-b0aa-ea8d45a5c181" providerId="ADAL" clId="{C49C2598-DE4D-4CD0-A197-C1971AACDF4C}" dt="2024-09-18T15:51:39.490" v="2151" actId="478"/>
          <ac:graphicFrameMkLst>
            <pc:docMk/>
            <pc:sldMk cId="3746985532" sldId="2147310020"/>
            <ac:graphicFrameMk id="4" creationId="{676687D9-A005-B895-2BEC-99E4B3C4D194}"/>
          </ac:graphicFrameMkLst>
        </pc:graphicFrameChg>
      </pc:sldChg>
      <pc:sldChg chg="modSp mod addAnim delAnim">
        <pc:chgData name="Fernando Enrique Nuñez Zapata" userId="4887fb29-3871-42a7-b0aa-ea8d45a5c181" providerId="ADAL" clId="{C49C2598-DE4D-4CD0-A197-C1971AACDF4C}" dt="2024-09-18T22:11:43.412" v="2742" actId="108"/>
        <pc:sldMkLst>
          <pc:docMk/>
          <pc:sldMk cId="151272569" sldId="2147310022"/>
        </pc:sldMkLst>
        <pc:spChg chg="mod">
          <ac:chgData name="Fernando Enrique Nuñez Zapata" userId="4887fb29-3871-42a7-b0aa-ea8d45a5c181" providerId="ADAL" clId="{C49C2598-DE4D-4CD0-A197-C1971AACDF4C}" dt="2024-09-18T22:09:07.425" v="2724" actId="108"/>
          <ac:spMkLst>
            <pc:docMk/>
            <pc:sldMk cId="151272569" sldId="2147310022"/>
            <ac:spMk id="9" creationId="{2AC47C44-3308-AE9D-36B2-988B8C8B975F}"/>
          </ac:spMkLst>
        </pc:spChg>
        <pc:spChg chg="mod">
          <ac:chgData name="Fernando Enrique Nuñez Zapata" userId="4887fb29-3871-42a7-b0aa-ea8d45a5c181" providerId="ADAL" clId="{C49C2598-DE4D-4CD0-A197-C1971AACDF4C}" dt="2024-09-18T22:11:26.295" v="2739" actId="108"/>
          <ac:spMkLst>
            <pc:docMk/>
            <pc:sldMk cId="151272569" sldId="2147310022"/>
            <ac:spMk id="36" creationId="{2278432E-B496-6B80-571F-6FAA98253981}"/>
          </ac:spMkLst>
        </pc:spChg>
        <pc:spChg chg="mod">
          <ac:chgData name="Fernando Enrique Nuñez Zapata" userId="4887fb29-3871-42a7-b0aa-ea8d45a5c181" providerId="ADAL" clId="{C49C2598-DE4D-4CD0-A197-C1971AACDF4C}" dt="2024-09-10T18:34:18.409" v="828" actId="108"/>
          <ac:spMkLst>
            <pc:docMk/>
            <pc:sldMk cId="151272569" sldId="2147310022"/>
            <ac:spMk id="39" creationId="{A49A26E8-3AAF-657A-D490-CF7B1F63549B}"/>
          </ac:spMkLst>
        </pc:spChg>
        <pc:spChg chg="mod">
          <ac:chgData name="Fernando Enrique Nuñez Zapata" userId="4887fb29-3871-42a7-b0aa-ea8d45a5c181" providerId="ADAL" clId="{C49C2598-DE4D-4CD0-A197-C1971AACDF4C}" dt="2024-09-10T18:24:55.239" v="734" actId="20577"/>
          <ac:spMkLst>
            <pc:docMk/>
            <pc:sldMk cId="151272569" sldId="2147310022"/>
            <ac:spMk id="52" creationId="{C8FB4903-0BB1-5810-5560-625DD68FEDC7}"/>
          </ac:spMkLst>
        </pc:spChg>
        <pc:spChg chg="mod">
          <ac:chgData name="Fernando Enrique Nuñez Zapata" userId="4887fb29-3871-42a7-b0aa-ea8d45a5c181" providerId="ADAL" clId="{C49C2598-DE4D-4CD0-A197-C1971AACDF4C}" dt="2024-09-10T18:35:37.929" v="829" actId="108"/>
          <ac:spMkLst>
            <pc:docMk/>
            <pc:sldMk cId="151272569" sldId="2147310022"/>
            <ac:spMk id="57" creationId="{78B8356A-B8A9-DFB9-3124-30D6F65BAC18}"/>
          </ac:spMkLst>
        </pc:spChg>
        <pc:spChg chg="mod">
          <ac:chgData name="Fernando Enrique Nuñez Zapata" userId="4887fb29-3871-42a7-b0aa-ea8d45a5c181" providerId="ADAL" clId="{C49C2598-DE4D-4CD0-A197-C1971AACDF4C}" dt="2024-09-18T22:10:30.504" v="2734" actId="208"/>
          <ac:spMkLst>
            <pc:docMk/>
            <pc:sldMk cId="151272569" sldId="2147310022"/>
            <ac:spMk id="75" creationId="{35976E90-D02C-D9C0-58A3-C1E49EE09371}"/>
          </ac:spMkLst>
        </pc:spChg>
        <pc:spChg chg="mod">
          <ac:chgData name="Fernando Enrique Nuñez Zapata" userId="4887fb29-3871-42a7-b0aa-ea8d45a5c181" providerId="ADAL" clId="{C49C2598-DE4D-4CD0-A197-C1971AACDF4C}" dt="2024-09-10T18:30:24.801" v="826" actId="108"/>
          <ac:spMkLst>
            <pc:docMk/>
            <pc:sldMk cId="151272569" sldId="2147310022"/>
            <ac:spMk id="80" creationId="{3B4B5569-8A96-E1A7-835A-119F6661426C}"/>
          </ac:spMkLst>
        </pc:spChg>
        <pc:spChg chg="mod">
          <ac:chgData name="Fernando Enrique Nuñez Zapata" userId="4887fb29-3871-42a7-b0aa-ea8d45a5c181" providerId="ADAL" clId="{C49C2598-DE4D-4CD0-A197-C1971AACDF4C}" dt="2024-09-10T18:30:30.326" v="827" actId="108"/>
          <ac:spMkLst>
            <pc:docMk/>
            <pc:sldMk cId="151272569" sldId="2147310022"/>
            <ac:spMk id="82" creationId="{F086724A-8BE1-D3DF-6507-345B4EE956AB}"/>
          </ac:spMkLst>
        </pc:spChg>
        <pc:spChg chg="mod">
          <ac:chgData name="Fernando Enrique Nuñez Zapata" userId="4887fb29-3871-42a7-b0aa-ea8d45a5c181" providerId="ADAL" clId="{C49C2598-DE4D-4CD0-A197-C1971AACDF4C}" dt="2024-09-18T22:09:07.963" v="2725" actId="108"/>
          <ac:spMkLst>
            <pc:docMk/>
            <pc:sldMk cId="151272569" sldId="2147310022"/>
            <ac:spMk id="87" creationId="{1F2C6625-4F5F-C424-774E-87FF9F37D0D7}"/>
          </ac:spMkLst>
        </pc:spChg>
        <pc:spChg chg="mod">
          <ac:chgData name="Fernando Enrique Nuñez Zapata" userId="4887fb29-3871-42a7-b0aa-ea8d45a5c181" providerId="ADAL" clId="{C49C2598-DE4D-4CD0-A197-C1971AACDF4C}" dt="2024-09-18T22:09:05.514" v="2722" actId="108"/>
          <ac:spMkLst>
            <pc:docMk/>
            <pc:sldMk cId="151272569" sldId="2147310022"/>
            <ac:spMk id="88" creationId="{DAAF5172-1598-5A5A-0BEA-D7F390B7797C}"/>
          </ac:spMkLst>
        </pc:spChg>
        <pc:spChg chg="mod">
          <ac:chgData name="Fernando Enrique Nuñez Zapata" userId="4887fb29-3871-42a7-b0aa-ea8d45a5c181" providerId="ADAL" clId="{C49C2598-DE4D-4CD0-A197-C1971AACDF4C}" dt="2024-09-18T22:11:01.087" v="2737" actId="208"/>
          <ac:spMkLst>
            <pc:docMk/>
            <pc:sldMk cId="151272569" sldId="2147310022"/>
            <ac:spMk id="153" creationId="{07C70272-2B8E-FC3A-0C15-00F7CB38262B}"/>
          </ac:spMkLst>
        </pc:spChg>
        <pc:spChg chg="mod">
          <ac:chgData name="Fernando Enrique Nuñez Zapata" userId="4887fb29-3871-42a7-b0aa-ea8d45a5c181" providerId="ADAL" clId="{C49C2598-DE4D-4CD0-A197-C1971AACDF4C}" dt="2024-09-18T22:09:03.514" v="2721" actId="207"/>
          <ac:spMkLst>
            <pc:docMk/>
            <pc:sldMk cId="151272569" sldId="2147310022"/>
            <ac:spMk id="154" creationId="{2E0FE93C-A8BB-BA45-6CC2-ADEA9C2CD01B}"/>
          </ac:spMkLst>
        </pc:spChg>
        <pc:spChg chg="mod">
          <ac:chgData name="Fernando Enrique Nuñez Zapata" userId="4887fb29-3871-42a7-b0aa-ea8d45a5c181" providerId="ADAL" clId="{C49C2598-DE4D-4CD0-A197-C1971AACDF4C}" dt="2024-09-18T22:09:03.514" v="2721" actId="207"/>
          <ac:spMkLst>
            <pc:docMk/>
            <pc:sldMk cId="151272569" sldId="2147310022"/>
            <ac:spMk id="155" creationId="{2C13D219-22AE-2C63-5C1B-C5070DECD1DF}"/>
          </ac:spMkLst>
        </pc:spChg>
        <pc:spChg chg="mod">
          <ac:chgData name="Fernando Enrique Nuñez Zapata" userId="4887fb29-3871-42a7-b0aa-ea8d45a5c181" providerId="ADAL" clId="{C49C2598-DE4D-4CD0-A197-C1971AACDF4C}" dt="2024-09-18T22:09:03.514" v="2721" actId="207"/>
          <ac:spMkLst>
            <pc:docMk/>
            <pc:sldMk cId="151272569" sldId="2147310022"/>
            <ac:spMk id="156" creationId="{921B7394-BA3A-5B65-C924-B39F40CE2860}"/>
          </ac:spMkLst>
        </pc:spChg>
        <pc:spChg chg="mod">
          <ac:chgData name="Fernando Enrique Nuñez Zapata" userId="4887fb29-3871-42a7-b0aa-ea8d45a5c181" providerId="ADAL" clId="{C49C2598-DE4D-4CD0-A197-C1971AACDF4C}" dt="2024-09-18T22:11:04.659" v="2738" actId="108"/>
          <ac:spMkLst>
            <pc:docMk/>
            <pc:sldMk cId="151272569" sldId="2147310022"/>
            <ac:spMk id="157" creationId="{CCC9F63E-C2B5-10BE-D8AE-CF449CE64B0C}"/>
          </ac:spMkLst>
        </pc:spChg>
        <pc:spChg chg="mod">
          <ac:chgData name="Fernando Enrique Nuñez Zapata" userId="4887fb29-3871-42a7-b0aa-ea8d45a5c181" providerId="ADAL" clId="{C49C2598-DE4D-4CD0-A197-C1971AACDF4C}" dt="2024-09-18T22:09:03.514" v="2721" actId="207"/>
          <ac:spMkLst>
            <pc:docMk/>
            <pc:sldMk cId="151272569" sldId="2147310022"/>
            <ac:spMk id="158" creationId="{8F1F13A2-C70A-1A58-2000-A4B7F70ABA20}"/>
          </ac:spMkLst>
        </pc:spChg>
        <pc:spChg chg="mod">
          <ac:chgData name="Fernando Enrique Nuñez Zapata" userId="4887fb29-3871-42a7-b0aa-ea8d45a5c181" providerId="ADAL" clId="{C49C2598-DE4D-4CD0-A197-C1971AACDF4C}" dt="2024-09-18T22:09:03.514" v="2721" actId="207"/>
          <ac:spMkLst>
            <pc:docMk/>
            <pc:sldMk cId="151272569" sldId="2147310022"/>
            <ac:spMk id="159" creationId="{B3FC801B-B60A-26E4-4EF8-04B5C298928F}"/>
          </ac:spMkLst>
        </pc:spChg>
        <pc:spChg chg="mod">
          <ac:chgData name="Fernando Enrique Nuñez Zapata" userId="4887fb29-3871-42a7-b0aa-ea8d45a5c181" providerId="ADAL" clId="{C49C2598-DE4D-4CD0-A197-C1971AACDF4C}" dt="2024-09-18T22:09:03.514" v="2721" actId="207"/>
          <ac:spMkLst>
            <pc:docMk/>
            <pc:sldMk cId="151272569" sldId="2147310022"/>
            <ac:spMk id="160" creationId="{F7EFBB34-8928-D4BF-58FC-692F951EA41D}"/>
          </ac:spMkLst>
        </pc:spChg>
        <pc:spChg chg="mod">
          <ac:chgData name="Fernando Enrique Nuñez Zapata" userId="4887fb29-3871-42a7-b0aa-ea8d45a5c181" providerId="ADAL" clId="{C49C2598-DE4D-4CD0-A197-C1971AACDF4C}" dt="2024-09-18T22:10:40.667" v="2735" actId="108"/>
          <ac:spMkLst>
            <pc:docMk/>
            <pc:sldMk cId="151272569" sldId="2147310022"/>
            <ac:spMk id="161" creationId="{9204FCEA-9283-5E2C-200C-03910A017C7D}"/>
          </ac:spMkLst>
        </pc:spChg>
        <pc:spChg chg="mod">
          <ac:chgData name="Fernando Enrique Nuñez Zapata" userId="4887fb29-3871-42a7-b0aa-ea8d45a5c181" providerId="ADAL" clId="{C49C2598-DE4D-4CD0-A197-C1971AACDF4C}" dt="2024-09-18T22:09:02.878" v="2720" actId="207"/>
          <ac:spMkLst>
            <pc:docMk/>
            <pc:sldMk cId="151272569" sldId="2147310022"/>
            <ac:spMk id="162" creationId="{018A350C-BE3E-F244-DA6B-C5A874F0C7B5}"/>
          </ac:spMkLst>
        </pc:spChg>
        <pc:spChg chg="mod">
          <ac:chgData name="Fernando Enrique Nuñez Zapata" userId="4887fb29-3871-42a7-b0aa-ea8d45a5c181" providerId="ADAL" clId="{C49C2598-DE4D-4CD0-A197-C1971AACDF4C}" dt="2024-09-18T22:09:02.878" v="2720" actId="207"/>
          <ac:spMkLst>
            <pc:docMk/>
            <pc:sldMk cId="151272569" sldId="2147310022"/>
            <ac:spMk id="163" creationId="{64C88104-E387-ECCC-7369-8A5817B90C98}"/>
          </ac:spMkLst>
        </pc:spChg>
        <pc:spChg chg="mod">
          <ac:chgData name="Fernando Enrique Nuñez Zapata" userId="4887fb29-3871-42a7-b0aa-ea8d45a5c181" providerId="ADAL" clId="{C49C2598-DE4D-4CD0-A197-C1971AACDF4C}" dt="2024-09-18T22:09:02.878" v="2720" actId="207"/>
          <ac:spMkLst>
            <pc:docMk/>
            <pc:sldMk cId="151272569" sldId="2147310022"/>
            <ac:spMk id="164" creationId="{FA2B8F61-A6EC-E0E5-18CC-584523B93759}"/>
          </ac:spMkLst>
        </pc:spChg>
        <pc:spChg chg="mod">
          <ac:chgData name="Fernando Enrique Nuñez Zapata" userId="4887fb29-3871-42a7-b0aa-ea8d45a5c181" providerId="ADAL" clId="{C49C2598-DE4D-4CD0-A197-C1971AACDF4C}" dt="2024-09-18T22:11:31.936" v="2740" actId="108"/>
          <ac:spMkLst>
            <pc:docMk/>
            <pc:sldMk cId="151272569" sldId="2147310022"/>
            <ac:spMk id="165" creationId="{7D4962F4-FF45-0017-6D88-0F9B5F2E2B17}"/>
          </ac:spMkLst>
        </pc:spChg>
        <pc:spChg chg="mod">
          <ac:chgData name="Fernando Enrique Nuñez Zapata" userId="4887fb29-3871-42a7-b0aa-ea8d45a5c181" providerId="ADAL" clId="{C49C2598-DE4D-4CD0-A197-C1971AACDF4C}" dt="2024-09-18T22:11:38.399" v="2741" actId="108"/>
          <ac:spMkLst>
            <pc:docMk/>
            <pc:sldMk cId="151272569" sldId="2147310022"/>
            <ac:spMk id="169" creationId="{B4FE227A-D54A-BACB-206B-B46C1360FB31}"/>
          </ac:spMkLst>
        </pc:spChg>
        <pc:spChg chg="mod">
          <ac:chgData name="Fernando Enrique Nuñez Zapata" userId="4887fb29-3871-42a7-b0aa-ea8d45a5c181" providerId="ADAL" clId="{C49C2598-DE4D-4CD0-A197-C1971AACDF4C}" dt="2024-09-18T22:11:43.412" v="2742" actId="108"/>
          <ac:spMkLst>
            <pc:docMk/>
            <pc:sldMk cId="151272569" sldId="2147310022"/>
            <ac:spMk id="173" creationId="{2E3D2B8C-202F-DD4E-E21A-2EB69A951A00}"/>
          </ac:spMkLst>
        </pc:spChg>
        <pc:graphicFrameChg chg="modGraphic">
          <ac:chgData name="Fernando Enrique Nuñez Zapata" userId="4887fb29-3871-42a7-b0aa-ea8d45a5c181" providerId="ADAL" clId="{C49C2598-DE4D-4CD0-A197-C1971AACDF4C}" dt="2024-09-18T22:05:56.054" v="2671" actId="207"/>
          <ac:graphicFrameMkLst>
            <pc:docMk/>
            <pc:sldMk cId="151272569" sldId="2147310022"/>
            <ac:graphicFrameMk id="22" creationId="{0CF90B55-9125-829B-1706-2CC9981707E1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8T22:07:30.288" v="2710" actId="207"/>
          <ac:graphicFrameMkLst>
            <pc:docMk/>
            <pc:sldMk cId="151272569" sldId="2147310022"/>
            <ac:graphicFrameMk id="24" creationId="{CEB09712-9160-9EEB-727B-50729D1044B5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2:07:00.951" v="2709" actId="2057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25:50.304" v="744" actId="13926"/>
          <ac:graphicFrameMkLst>
            <pc:docMk/>
            <pc:sldMk cId="151272569" sldId="2147310022"/>
            <ac:graphicFrameMk id="48" creationId="{9590F6B5-96ED-065A-BD51-292A13D13576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8T22:08:04.232" v="2712" actId="207"/>
          <ac:graphicFrameMkLst>
            <pc:docMk/>
            <pc:sldMk cId="151272569" sldId="2147310022"/>
            <ac:graphicFrameMk id="53" creationId="{618955C3-E208-AFCE-12BC-3E76CA8E34B1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25:02.624" v="735" actId="13926"/>
          <ac:graphicFrameMkLst>
            <pc:docMk/>
            <pc:sldMk cId="151272569" sldId="2147310022"/>
            <ac:graphicFrameMk id="54" creationId="{C7EA16F2-E800-5D1C-418D-C958E26338E5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8T22:07:58.269" v="2711" actId="207"/>
          <ac:graphicFrameMkLst>
            <pc:docMk/>
            <pc:sldMk cId="151272569" sldId="2147310022"/>
            <ac:graphicFrameMk id="55" creationId="{1C63550D-B761-6F3F-3FBB-374FC3628A63}"/>
          </ac:graphicFrameMkLst>
        </pc:graphicFrameChg>
      </pc:sldChg>
      <pc:sldChg chg="delSp modSp mod">
        <pc:chgData name="Fernando Enrique Nuñez Zapata" userId="4887fb29-3871-42a7-b0aa-ea8d45a5c181" providerId="ADAL" clId="{C49C2598-DE4D-4CD0-A197-C1971AACDF4C}" dt="2024-09-18T22:18:15.803" v="2798" actId="478"/>
        <pc:sldMkLst>
          <pc:docMk/>
          <pc:sldMk cId="3441399492" sldId="2147310030"/>
        </pc:sldMkLst>
        <pc:spChg chg="mod">
          <ac:chgData name="Fernando Enrique Nuñez Zapata" userId="4887fb29-3871-42a7-b0aa-ea8d45a5c181" providerId="ADAL" clId="{C49C2598-DE4D-4CD0-A197-C1971AACDF4C}" dt="2024-09-18T22:18:04.024" v="2795" actId="20577"/>
          <ac:spMkLst>
            <pc:docMk/>
            <pc:sldMk cId="3441399492" sldId="2147310030"/>
            <ac:spMk id="2" creationId="{B69CE8D9-C56E-D8EE-E529-AAAE8056EDE1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30" creationId="{6F28C93D-3046-423C-9DF0-2702C3C88C46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31" creationId="{D5D6B4C6-562D-4051-BBA5-B688732E8EE5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39" creationId="{41782B10-A57A-4B23-9C11-2C50C06392AF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42" creationId="{82402514-C7CB-44C0-976B-84E23BD83315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54" creationId="{E9B82DFB-7870-4DD1-82D9-D88093B8EF3C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55" creationId="{46C42E78-4B02-447A-A093-FB0E4B46C46D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56" creationId="{ACEC37CE-52C9-48D3-960F-67D7F134CFFF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57" creationId="{FEE35C87-32D2-4513-AAF6-5C0E690B666B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58" creationId="{10D91EAE-1A82-46B1-91A1-EA607CD7FDEE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59" creationId="{B631DA7A-BDCD-4A6A-87EE-9424D92CACBF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60" creationId="{BDB2B9F5-D3D9-4776-B340-2981423596E9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61" creationId="{7D9E0E92-3A7C-46B9-99B0-534EC96826A5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62" creationId="{07FEB7CD-AA01-4C68-B432-84D43561BC83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63" creationId="{C5E7EE2E-D4EC-4A71-9EB9-502CF30D53C5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64" creationId="{2F3CCAAA-FDC6-40A8-BC27-1C860EC17D7D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65" creationId="{7838AA9A-7EB0-4981-BB15-F2C3C4BEF6B0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76" creationId="{4A76DFD1-F7C4-4F94-ACD0-40C76948BD8E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77" creationId="{43142F0E-0E27-4367-9D4D-A9A32E97C9B7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78" creationId="{6766E62E-37EA-4E1D-A5AA-883BBBEE5D75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79" creationId="{7A13C5C8-6659-43B2-BB97-AFF0DB5C5A8C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81" creationId="{F0F3AD8D-0875-4577-BA14-AF21460D8AB0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82" creationId="{9335C3E6-3A82-42B3-A9DC-A6C8EC5163F4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83" creationId="{E5F57414-8D75-49DF-963B-F8157D19AB5B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84" creationId="{9DB1C157-E96B-4A3A-89A9-D987A00803AB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85" creationId="{EBA2BF96-B31A-45BD-A9FD-27EF6460BB32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86" creationId="{3A243E0B-65E3-4281-ADEC-DF523D2359C2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87" creationId="{803A2271-0A6C-4470-8C9C-C8CBAB60483F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88" creationId="{ABBFDFD3-B175-44C2-BFA9-D2BFE58A4D8F}"/>
          </ac:spMkLst>
        </pc:spChg>
        <pc:spChg chg="del">
          <ac:chgData name="Fernando Enrique Nuñez Zapata" userId="4887fb29-3871-42a7-b0aa-ea8d45a5c181" providerId="ADAL" clId="{C49C2598-DE4D-4CD0-A197-C1971AACDF4C}" dt="2024-09-18T22:18:13.396" v="2797" actId="478"/>
          <ac:spMkLst>
            <pc:docMk/>
            <pc:sldMk cId="3441399492" sldId="2147310030"/>
            <ac:spMk id="90" creationId="{CC99123F-E9D9-4932-AF24-455ACFCFCCFD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1" creationId="{8D630C08-BB1D-4368-8CCB-1C6CCC45B0C9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2" creationId="{0518E253-8122-4760-892F-5CE2BE0F7B79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3" creationId="{BAC29AF3-F561-470A-A986-5568C30EBD6A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4" creationId="{DF40A543-4B77-4631-AEE0-542B69EC382B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5" creationId="{C45918D5-2248-4E11-9986-50BA53A51FB2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6" creationId="{C8B5F7ED-422A-4E67-989B-4F2F54A51FB6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7" creationId="{8AA86666-09D9-43B4-88E0-A8C7F3B0AD9F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8" creationId="{4DE57E96-1118-4240-B886-2C7BA087AB84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99" creationId="{9743800B-916D-43AB-846C-06C1EE3EE15A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00" creationId="{F438B857-622D-4B75-B324-54A9834797DE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02" creationId="{D1DC3BDB-4EF3-4860-A593-DEE3EFAA4F60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03" creationId="{056AFE81-A9E3-4A04-8058-459D23C912C6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05" creationId="{F9CCC003-504E-44CE-AE07-C162E867CC63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06" creationId="{76874531-5468-4680-A8C8-4D9135038260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08" creationId="{283E5128-D848-48E8-83D2-976E33E2FE79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09" creationId="{1837B5BC-7540-4D36-AAD7-2F17C9871FED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14" creationId="{7D05C80D-6E88-4E72-8746-68E583E9FC16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15" creationId="{D9B3190D-863B-4C08-A3D7-BDE9451B4C7E}"/>
          </ac:spMkLst>
        </pc:spChg>
        <pc:spChg chg="del">
          <ac:chgData name="Fernando Enrique Nuñez Zapata" userId="4887fb29-3871-42a7-b0aa-ea8d45a5c181" providerId="ADAL" clId="{C49C2598-DE4D-4CD0-A197-C1971AACDF4C}" dt="2024-09-18T22:18:15.803" v="2798" actId="478"/>
          <ac:spMkLst>
            <pc:docMk/>
            <pc:sldMk cId="3441399492" sldId="2147310030"/>
            <ac:spMk id="116" creationId="{CFE98398-EEB7-4DE2-858C-42D5C4EFA9F2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22" creationId="{E18F1E94-B860-478C-BCFA-D16F23778E13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26" creationId="{B921111E-C4C2-4282-B77C-14AABFD639D2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34" creationId="{124C8915-7E07-4866-A038-09F6DB240E07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47" creationId="{0E1F6326-1B54-4D42-8ECD-10DAB366A188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48" creationId="{1B0EC52A-75DC-41A9-A684-14684D70A21A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49" creationId="{05DCD5D5-B18E-43BF-9690-4FB082A10934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50" creationId="{694F308A-EBED-4F4E-9942-9BF2CCAE758B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51" creationId="{DC9271C4-C140-4D9B-91A9-3F208FEDCE06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52" creationId="{98A49FA6-0166-4072-8C5E-6D5D84BDE9D2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53" creationId="{F916E88D-F9FB-450A-BD26-8C8474D96468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54" creationId="{3A5CC6BC-AA4B-44BF-8F02-C098E9A96590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57" creationId="{B75BF71D-0A8A-4FF5-9363-575EA9F6992C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58" creationId="{F83ECD1C-3765-4922-AB79-BC62DEEDEDAF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59" creationId="{C2A02324-32D7-4CA4-9742-118F0C847AEF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60" creationId="{82E0CEE4-6702-40AD-BE5F-E453ABDCDCB8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61" creationId="{39F1ECA7-CED7-442E-BF3A-8AFAEF748815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62" creationId="{6593082C-08E0-43B2-AC68-B51EDD6BC82F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63" creationId="{85036D46-4DFE-4D45-AFC9-857BDCDA0D16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64" creationId="{2FA75C12-2B32-49D9-BFAA-88B699E8BDA3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65" creationId="{F081D904-E108-42A4-BF35-56DF94B3EBEA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66" creationId="{DB825F32-9DA7-41E5-8BC7-BDD34A23E824}"/>
          </ac:spMkLst>
        </pc:spChg>
        <pc:spChg chg="del">
          <ac:chgData name="Fernando Enrique Nuñez Zapata" userId="4887fb29-3871-42a7-b0aa-ea8d45a5c181" providerId="ADAL" clId="{C49C2598-DE4D-4CD0-A197-C1971AACDF4C}" dt="2024-09-18T22:18:09.758" v="2796" actId="478"/>
          <ac:spMkLst>
            <pc:docMk/>
            <pc:sldMk cId="3441399492" sldId="2147310030"/>
            <ac:spMk id="167" creationId="{9C83F099-8BBC-4C68-B3BF-3AC0C4AB16C7}"/>
          </ac:spMkLst>
        </pc:spChg>
        <pc:grpChg chg="del">
          <ac:chgData name="Fernando Enrique Nuñez Zapata" userId="4887fb29-3871-42a7-b0aa-ea8d45a5c181" providerId="ADAL" clId="{C49C2598-DE4D-4CD0-A197-C1971AACDF4C}" dt="2024-09-18T22:18:09.758" v="2796" actId="478"/>
          <ac:grpSpMkLst>
            <pc:docMk/>
            <pc:sldMk cId="3441399492" sldId="2147310030"/>
            <ac:grpSpMk id="7" creationId="{9564D004-D729-4A1F-8970-262B13AC8EB2}"/>
          </ac:grpSpMkLst>
        </pc:grpChg>
        <pc:picChg chg="del">
          <ac:chgData name="Fernando Enrique Nuñez Zapata" userId="4887fb29-3871-42a7-b0aa-ea8d45a5c181" providerId="ADAL" clId="{C49C2598-DE4D-4CD0-A197-C1971AACDF4C}" dt="2024-09-18T22:18:09.758" v="2796" actId="478"/>
          <ac:picMkLst>
            <pc:docMk/>
            <pc:sldMk cId="3441399492" sldId="2147310030"/>
            <ac:picMk id="89" creationId="{FE59D36C-F37F-42DB-B38C-ABCAAA649B44}"/>
          </ac:picMkLst>
        </pc:picChg>
        <pc:picChg chg="del">
          <ac:chgData name="Fernando Enrique Nuñez Zapata" userId="4887fb29-3871-42a7-b0aa-ea8d45a5c181" providerId="ADAL" clId="{C49C2598-DE4D-4CD0-A197-C1971AACDF4C}" dt="2024-09-18T22:18:09.758" v="2796" actId="478"/>
          <ac:picMkLst>
            <pc:docMk/>
            <pc:sldMk cId="3441399492" sldId="2147310030"/>
            <ac:picMk id="101" creationId="{C6A2AEC5-5E2E-4346-ABCC-AC206B9F4C3C}"/>
          </ac:picMkLst>
        </pc:picChg>
        <pc:picChg chg="del">
          <ac:chgData name="Fernando Enrique Nuñez Zapata" userId="4887fb29-3871-42a7-b0aa-ea8d45a5c181" providerId="ADAL" clId="{C49C2598-DE4D-4CD0-A197-C1971AACDF4C}" dt="2024-09-18T22:18:09.758" v="2796" actId="478"/>
          <ac:picMkLst>
            <pc:docMk/>
            <pc:sldMk cId="3441399492" sldId="2147310030"/>
            <ac:picMk id="104" creationId="{AD7ECD58-1C22-44F7-B79A-5085565117DC}"/>
          </ac:picMkLst>
        </pc:picChg>
        <pc:picChg chg="del">
          <ac:chgData name="Fernando Enrique Nuñez Zapata" userId="4887fb29-3871-42a7-b0aa-ea8d45a5c181" providerId="ADAL" clId="{C49C2598-DE4D-4CD0-A197-C1971AACDF4C}" dt="2024-09-18T22:18:09.758" v="2796" actId="478"/>
          <ac:picMkLst>
            <pc:docMk/>
            <pc:sldMk cId="3441399492" sldId="2147310030"/>
            <ac:picMk id="155" creationId="{2F1E5E6B-3A51-480C-8BFC-895FCE202715}"/>
          </ac:picMkLst>
        </pc:picChg>
        <pc:cxnChg chg="del">
          <ac:chgData name="Fernando Enrique Nuñez Zapata" userId="4887fb29-3871-42a7-b0aa-ea8d45a5c181" providerId="ADAL" clId="{C49C2598-DE4D-4CD0-A197-C1971AACDF4C}" dt="2024-09-18T22:18:09.758" v="2796" actId="478"/>
          <ac:cxnSpMkLst>
            <pc:docMk/>
            <pc:sldMk cId="3441399492" sldId="2147310030"/>
            <ac:cxnSpMk id="5" creationId="{A2BCFB2F-6E6F-4475-AC34-47DC18FD1E35}"/>
          </ac:cxnSpMkLst>
        </pc:cxnChg>
      </pc:sldChg>
      <pc:sldChg chg="add del">
        <pc:chgData name="Fernando Enrique Nuñez Zapata" userId="4887fb29-3871-42a7-b0aa-ea8d45a5c181" providerId="ADAL" clId="{C49C2598-DE4D-4CD0-A197-C1971AACDF4C}" dt="2024-09-18T22:18:17.984" v="2799" actId="47"/>
        <pc:sldMkLst>
          <pc:docMk/>
          <pc:sldMk cId="3123906114" sldId="2147310031"/>
        </pc:sldMkLst>
      </pc:sldChg>
      <pc:sldChg chg="addSp delSp modSp mod delAnim">
        <pc:chgData name="Fernando Enrique Nuñez Zapata" userId="4887fb29-3871-42a7-b0aa-ea8d45a5c181" providerId="ADAL" clId="{C49C2598-DE4D-4CD0-A197-C1971AACDF4C}" dt="2024-09-18T22:25:06.412" v="2865" actId="6549"/>
        <pc:sldMkLst>
          <pc:docMk/>
          <pc:sldMk cId="321441338" sldId="2147310034"/>
        </pc:sldMkLst>
        <pc:spChg chg="mod">
          <ac:chgData name="Fernando Enrique Nuñez Zapata" userId="4887fb29-3871-42a7-b0aa-ea8d45a5c181" providerId="ADAL" clId="{C49C2598-DE4D-4CD0-A197-C1971AACDF4C}" dt="2024-09-18T21:21:55.637" v="2400" actId="1036"/>
          <ac:spMkLst>
            <pc:docMk/>
            <pc:sldMk cId="321441338" sldId="2147310034"/>
            <ac:spMk id="4" creationId="{0BA28C50-95E0-A014-6135-B82DEBCD3FD6}"/>
          </ac:spMkLst>
        </pc:spChg>
        <pc:spChg chg="mod">
          <ac:chgData name="Fernando Enrique Nuñez Zapata" userId="4887fb29-3871-42a7-b0aa-ea8d45a5c181" providerId="ADAL" clId="{C49C2598-DE4D-4CD0-A197-C1971AACDF4C}" dt="2024-09-18T22:25:06.412" v="2865" actId="6549"/>
          <ac:spMkLst>
            <pc:docMk/>
            <pc:sldMk cId="321441338" sldId="2147310034"/>
            <ac:spMk id="7" creationId="{2CC9975B-BA46-B543-BE52-BCF45F510DCB}"/>
          </ac:spMkLst>
        </pc:spChg>
        <pc:spChg chg="mod ord">
          <ac:chgData name="Fernando Enrique Nuñez Zapata" userId="4887fb29-3871-42a7-b0aa-ea8d45a5c181" providerId="ADAL" clId="{C49C2598-DE4D-4CD0-A197-C1971AACDF4C}" dt="2024-09-18T21:21:45.772" v="2386" actId="14100"/>
          <ac:spMkLst>
            <pc:docMk/>
            <pc:sldMk cId="321441338" sldId="2147310034"/>
            <ac:spMk id="10" creationId="{C8BC7A37-CCA8-76A0-3A9B-038168883344}"/>
          </ac:spMkLst>
        </pc:spChg>
        <pc:spChg chg="mod">
          <ac:chgData name="Fernando Enrique Nuñez Zapata" userId="4887fb29-3871-42a7-b0aa-ea8d45a5c181" providerId="ADAL" clId="{C49C2598-DE4D-4CD0-A197-C1971AACDF4C}" dt="2024-09-18T21:21:37.563" v="2385" actId="1036"/>
          <ac:spMkLst>
            <pc:docMk/>
            <pc:sldMk cId="321441338" sldId="2147310034"/>
            <ac:spMk id="18" creationId="{E6C6390B-0F9A-9735-DFAA-F8504DB559CA}"/>
          </ac:spMkLst>
        </pc:spChg>
        <pc:spChg chg="mod">
          <ac:chgData name="Fernando Enrique Nuñez Zapata" userId="4887fb29-3871-42a7-b0aa-ea8d45a5c181" providerId="ADAL" clId="{C49C2598-DE4D-4CD0-A197-C1971AACDF4C}" dt="2024-09-18T21:17:06.366" v="2346" actId="20577"/>
          <ac:spMkLst>
            <pc:docMk/>
            <pc:sldMk cId="321441338" sldId="2147310034"/>
            <ac:spMk id="23" creationId="{808C0FBB-3EBB-1E9C-5397-C09F2C9C2DCD}"/>
          </ac:spMkLst>
        </pc:spChg>
        <pc:spChg chg="mod">
          <ac:chgData name="Fernando Enrique Nuñez Zapata" userId="4887fb29-3871-42a7-b0aa-ea8d45a5c181" providerId="ADAL" clId="{C49C2598-DE4D-4CD0-A197-C1971AACDF4C}" dt="2024-09-18T21:19:53.216" v="2382" actId="1038"/>
          <ac:spMkLst>
            <pc:docMk/>
            <pc:sldMk cId="321441338" sldId="2147310034"/>
            <ac:spMk id="29" creationId="{34913F2E-D48F-B859-1884-A3D0BB140D5A}"/>
          </ac:spMkLst>
        </pc:spChg>
        <pc:spChg chg="mod">
          <ac:chgData name="Fernando Enrique Nuñez Zapata" userId="4887fb29-3871-42a7-b0aa-ea8d45a5c181" providerId="ADAL" clId="{C49C2598-DE4D-4CD0-A197-C1971AACDF4C}" dt="2024-09-18T21:27:16.269" v="2442" actId="20577"/>
          <ac:spMkLst>
            <pc:docMk/>
            <pc:sldMk cId="321441338" sldId="2147310034"/>
            <ac:spMk id="36" creationId="{2B5EEAB9-F8B7-8A40-B51C-F9C47989865F}"/>
          </ac:spMkLst>
        </pc:spChg>
        <pc:spChg chg="add mod">
          <ac:chgData name="Fernando Enrique Nuñez Zapata" userId="4887fb29-3871-42a7-b0aa-ea8d45a5c181" providerId="ADAL" clId="{C49C2598-DE4D-4CD0-A197-C1971AACDF4C}" dt="2024-09-18T21:31:04.904" v="2540" actId="1076"/>
          <ac:spMkLst>
            <pc:docMk/>
            <pc:sldMk cId="321441338" sldId="2147310034"/>
            <ac:spMk id="37" creationId="{9AD94174-2B6F-9C24-4730-AAB6490B21E4}"/>
          </ac:spMkLst>
        </pc:spChg>
        <pc:graphicFrameChg chg="add mod">
          <ac:chgData name="Fernando Enrique Nuñez Zapata" userId="4887fb29-3871-42a7-b0aa-ea8d45a5c181" providerId="ADAL" clId="{C49C2598-DE4D-4CD0-A197-C1971AACDF4C}" dt="2024-09-18T20:42:17.871" v="2165"/>
          <ac:graphicFrameMkLst>
            <pc:docMk/>
            <pc:sldMk cId="321441338" sldId="2147310034"/>
            <ac:graphicFrameMk id="5" creationId="{8F29029D-FDA4-46F2-82D2-29F181619452}"/>
          </ac:graphicFrameMkLst>
        </pc:graphicFrameChg>
        <pc:graphicFrameChg chg="del mod">
          <ac:chgData name="Fernando Enrique Nuñez Zapata" userId="4887fb29-3871-42a7-b0aa-ea8d45a5c181" providerId="ADAL" clId="{C49C2598-DE4D-4CD0-A197-C1971AACDF4C}" dt="2024-09-18T21:18:41.050" v="2353" actId="478"/>
          <ac:graphicFrameMkLst>
            <pc:docMk/>
            <pc:sldMk cId="321441338" sldId="2147310034"/>
            <ac:graphicFrameMk id="6" creationId="{FCEFA422-B86E-6052-31E3-1E267A86F7F7}"/>
          </ac:graphicFrameMkLst>
        </pc:graphicFrameChg>
        <pc:graphicFrameChg chg="del">
          <ac:chgData name="Fernando Enrique Nuñez Zapata" userId="4887fb29-3871-42a7-b0aa-ea8d45a5c181" providerId="ADAL" clId="{C49C2598-DE4D-4CD0-A197-C1971AACDF4C}" dt="2024-09-18T20:41:21.470" v="2153" actId="478"/>
          <ac:graphicFrameMkLst>
            <pc:docMk/>
            <pc:sldMk cId="321441338" sldId="2147310034"/>
            <ac:graphicFrameMk id="8" creationId="{4DC0704C-7EB4-4BF7-A0CF-FF0BBE31F4DD}"/>
          </ac:graphicFrameMkLst>
        </pc:graphicFrameChg>
        <pc:graphicFrameChg chg="del">
          <ac:chgData name="Fernando Enrique Nuñez Zapata" userId="4887fb29-3871-42a7-b0aa-ea8d45a5c181" providerId="ADAL" clId="{C49C2598-DE4D-4CD0-A197-C1971AACDF4C}" dt="2024-09-18T20:41:29.613" v="2155" actId="478"/>
          <ac:graphicFrameMkLst>
            <pc:docMk/>
            <pc:sldMk cId="321441338" sldId="2147310034"/>
            <ac:graphicFrameMk id="11" creationId="{74D949B2-AD22-BD50-BD36-4F2424CE0D30}"/>
          </ac:graphicFrameMkLst>
        </pc:graphicFrameChg>
        <pc:graphicFrameChg chg="add del mod">
          <ac:chgData name="Fernando Enrique Nuñez Zapata" userId="4887fb29-3871-42a7-b0aa-ea8d45a5c181" providerId="ADAL" clId="{C49C2598-DE4D-4CD0-A197-C1971AACDF4C}" dt="2024-09-18T20:42:27.284" v="2168" actId="478"/>
          <ac:graphicFrameMkLst>
            <pc:docMk/>
            <pc:sldMk cId="321441338" sldId="2147310034"/>
            <ac:graphicFrameMk id="14" creationId="{8F29029D-FDA4-46F2-82D2-29F181619452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1:21:37.563" v="2385" actId="1036"/>
          <ac:graphicFrameMkLst>
            <pc:docMk/>
            <pc:sldMk cId="321441338" sldId="2147310034"/>
            <ac:graphicFrameMk id="15" creationId="{DFCC1CC8-9C7E-E777-ACFE-1604DB07EED8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1:21:37.563" v="2385" actId="1036"/>
          <ac:graphicFrameMkLst>
            <pc:docMk/>
            <pc:sldMk cId="321441338" sldId="2147310034"/>
            <ac:graphicFrameMk id="16" creationId="{B8707EAE-9863-07CA-AA94-0008F5303C1A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1:21:37.563" v="2385" actId="1036"/>
          <ac:graphicFrameMkLst>
            <pc:docMk/>
            <pc:sldMk cId="321441338" sldId="2147310034"/>
            <ac:graphicFrameMk id="20" creationId="{1D37815E-6E06-C46C-175A-392B47B95304}"/>
          </ac:graphicFrameMkLst>
        </pc:graphicFrameChg>
        <pc:graphicFrameChg chg="del">
          <ac:chgData name="Fernando Enrique Nuñez Zapata" userId="4887fb29-3871-42a7-b0aa-ea8d45a5c181" providerId="ADAL" clId="{C49C2598-DE4D-4CD0-A197-C1971AACDF4C}" dt="2024-09-18T20:41:49.448" v="2156" actId="478"/>
          <ac:graphicFrameMkLst>
            <pc:docMk/>
            <pc:sldMk cId="321441338" sldId="2147310034"/>
            <ac:graphicFrameMk id="21" creationId="{C01F56F9-A316-448A-9A4A-BD0E8DE6E225}"/>
          </ac:graphicFrameMkLst>
        </pc:graphicFrameChg>
        <pc:graphicFrameChg chg="add mod">
          <ac:chgData name="Fernando Enrique Nuñez Zapata" userId="4887fb29-3871-42a7-b0aa-ea8d45a5c181" providerId="ADAL" clId="{C49C2598-DE4D-4CD0-A197-C1971AACDF4C}" dt="2024-09-18T21:21:37.563" v="2385" actId="1036"/>
          <ac:graphicFrameMkLst>
            <pc:docMk/>
            <pc:sldMk cId="321441338" sldId="2147310034"/>
            <ac:graphicFrameMk id="22" creationId="{8F29029D-FDA4-46F2-82D2-29F181619452}"/>
          </ac:graphicFrameMkLst>
        </pc:graphicFrameChg>
        <pc:graphicFrameChg chg="del">
          <ac:chgData name="Fernando Enrique Nuñez Zapata" userId="4887fb29-3871-42a7-b0aa-ea8d45a5c181" providerId="ADAL" clId="{C49C2598-DE4D-4CD0-A197-C1971AACDF4C}" dt="2024-09-18T20:45:22.598" v="2184" actId="478"/>
          <ac:graphicFrameMkLst>
            <pc:docMk/>
            <pc:sldMk cId="321441338" sldId="2147310034"/>
            <ac:graphicFrameMk id="26" creationId="{80518FF7-E91E-47DE-96AF-C763E7E0CF02}"/>
          </ac:graphicFrameMkLst>
        </pc:graphicFrameChg>
        <pc:graphicFrameChg chg="del">
          <ac:chgData name="Fernando Enrique Nuñez Zapata" userId="4887fb29-3871-42a7-b0aa-ea8d45a5c181" providerId="ADAL" clId="{C49C2598-DE4D-4CD0-A197-C1971AACDF4C}" dt="2024-09-18T20:47:55.169" v="2248" actId="478"/>
          <ac:graphicFrameMkLst>
            <pc:docMk/>
            <pc:sldMk cId="321441338" sldId="2147310034"/>
            <ac:graphicFrameMk id="27" creationId="{77DE74BA-584F-402F-8D33-508233DC17CC}"/>
          </ac:graphicFrameMkLst>
        </pc:graphicFrameChg>
        <pc:graphicFrameChg chg="add mod">
          <ac:chgData name="Fernando Enrique Nuñez Zapata" userId="4887fb29-3871-42a7-b0aa-ea8d45a5c181" providerId="ADAL" clId="{C49C2598-DE4D-4CD0-A197-C1971AACDF4C}" dt="2024-09-18T21:21:37.563" v="2385" actId="1036"/>
          <ac:graphicFrameMkLst>
            <pc:docMk/>
            <pc:sldMk cId="321441338" sldId="2147310034"/>
            <ac:graphicFrameMk id="32" creationId="{D596C9AF-E61D-4EBA-AC57-C56CFBA1ED75}"/>
          </ac:graphicFrameMkLst>
        </pc:graphicFrameChg>
        <pc:graphicFrameChg chg="add mod">
          <ac:chgData name="Fernando Enrique Nuñez Zapata" userId="4887fb29-3871-42a7-b0aa-ea8d45a5c181" providerId="ADAL" clId="{C49C2598-DE4D-4CD0-A197-C1971AACDF4C}" dt="2024-09-18T21:21:37.563" v="2385" actId="1036"/>
          <ac:graphicFrameMkLst>
            <pc:docMk/>
            <pc:sldMk cId="321441338" sldId="2147310034"/>
            <ac:graphicFrameMk id="33" creationId="{3EAE9563-A2EA-494B-8021-67301FF53566}"/>
          </ac:graphicFrameMkLst>
        </pc:graphicFrameChg>
        <pc:graphicFrameChg chg="add mod">
          <ac:chgData name="Fernando Enrique Nuñez Zapata" userId="4887fb29-3871-42a7-b0aa-ea8d45a5c181" providerId="ADAL" clId="{C49C2598-DE4D-4CD0-A197-C1971AACDF4C}" dt="2024-09-18T21:29:29.089" v="2479"/>
          <ac:graphicFrameMkLst>
            <pc:docMk/>
            <pc:sldMk cId="321441338" sldId="2147310034"/>
            <ac:graphicFrameMk id="34" creationId="{654A4E4A-AA24-4454-A85F-8D7BC6658661}"/>
          </ac:graphicFrameMkLst>
        </pc:graphicFrameChg>
        <pc:picChg chg="mod">
          <ac:chgData name="Fernando Enrique Nuñez Zapata" userId="4887fb29-3871-42a7-b0aa-ea8d45a5c181" providerId="ADAL" clId="{C49C2598-DE4D-4CD0-A197-C1971AACDF4C}" dt="2024-09-18T21:27:24.781" v="2448" actId="1036"/>
          <ac:picMkLst>
            <pc:docMk/>
            <pc:sldMk cId="321441338" sldId="2147310034"/>
            <ac:picMk id="2" creationId="{B60CEB8D-E040-54B0-D959-2C98424FDC28}"/>
          </ac:picMkLst>
        </pc:picChg>
        <pc:picChg chg="mod">
          <ac:chgData name="Fernando Enrique Nuñez Zapata" userId="4887fb29-3871-42a7-b0aa-ea8d45a5c181" providerId="ADAL" clId="{C49C2598-DE4D-4CD0-A197-C1971AACDF4C}" dt="2024-09-18T21:28:11.242" v="2467" actId="1035"/>
          <ac:picMkLst>
            <pc:docMk/>
            <pc:sldMk cId="321441338" sldId="2147310034"/>
            <ac:picMk id="13" creationId="{6E42168C-D669-DEA7-533F-98E3D8426AEC}"/>
          </ac:picMkLst>
        </pc:picChg>
        <pc:picChg chg="del">
          <ac:chgData name="Fernando Enrique Nuñez Zapata" userId="4887fb29-3871-42a7-b0aa-ea8d45a5c181" providerId="ADAL" clId="{C49C2598-DE4D-4CD0-A197-C1971AACDF4C}" dt="2024-09-18T20:41:24.616" v="2154" actId="478"/>
          <ac:picMkLst>
            <pc:docMk/>
            <pc:sldMk cId="321441338" sldId="2147310034"/>
            <ac:picMk id="19" creationId="{8E940335-FDC8-F789-306F-4D87C340F8DE}"/>
          </ac:picMkLst>
        </pc:picChg>
        <pc:picChg chg="add mod">
          <ac:chgData name="Fernando Enrique Nuñez Zapata" userId="4887fb29-3871-42a7-b0aa-ea8d45a5c181" providerId="ADAL" clId="{C49C2598-DE4D-4CD0-A197-C1971AACDF4C}" dt="2024-09-18T21:27:36.433" v="2464" actId="1038"/>
          <ac:picMkLst>
            <pc:docMk/>
            <pc:sldMk cId="321441338" sldId="2147310034"/>
            <ac:picMk id="35" creationId="{03BFEBD7-C2D0-CAAA-58BC-9F2D6A1DC49D}"/>
          </ac:picMkLst>
        </pc:picChg>
        <pc:cxnChg chg="mod">
          <ac:chgData name="Fernando Enrique Nuñez Zapata" userId="4887fb29-3871-42a7-b0aa-ea8d45a5c181" providerId="ADAL" clId="{C49C2598-DE4D-4CD0-A197-C1971AACDF4C}" dt="2024-09-18T21:19:53.216" v="2382" actId="1038"/>
          <ac:cxnSpMkLst>
            <pc:docMk/>
            <pc:sldMk cId="321441338" sldId="2147310034"/>
            <ac:cxnSpMk id="24" creationId="{1FF3DFE8-46B9-5D5A-9CA1-6C2CF61C8184}"/>
          </ac:cxnSpMkLst>
        </pc:cxnChg>
      </pc:sldChg>
      <pc:sldChg chg="addSp delSp modSp add mod addAnim delAnim modAnim">
        <pc:chgData name="Fernando Enrique Nuñez Zapata" userId="4887fb29-3871-42a7-b0aa-ea8d45a5c181" providerId="ADAL" clId="{C49C2598-DE4D-4CD0-A197-C1971AACDF4C}" dt="2024-09-18T22:21:13.072" v="2812" actId="20577"/>
        <pc:sldMkLst>
          <pc:docMk/>
          <pc:sldMk cId="2550942231" sldId="2147310035"/>
        </pc:sldMkLst>
        <pc:spChg chg="mod">
          <ac:chgData name="Fernando Enrique Nuñez Zapata" userId="4887fb29-3871-42a7-b0aa-ea8d45a5c181" providerId="ADAL" clId="{C49C2598-DE4D-4CD0-A197-C1971AACDF4C}" dt="2024-09-17T15:38:34.034" v="1545" actId="1035"/>
          <ac:spMkLst>
            <pc:docMk/>
            <pc:sldMk cId="2550942231" sldId="2147310035"/>
            <ac:spMk id="5" creationId="{F4BE04F7-C72A-089C-779D-D1A62994E475}"/>
          </ac:spMkLst>
        </pc:spChg>
        <pc:spChg chg="add del mod">
          <ac:chgData name="Fernando Enrique Nuñez Zapata" userId="4887fb29-3871-42a7-b0aa-ea8d45a5c181" providerId="ADAL" clId="{C49C2598-DE4D-4CD0-A197-C1971AACDF4C}" dt="2024-09-18T14:59:05.989" v="2150" actId="478"/>
          <ac:spMkLst>
            <pc:docMk/>
            <pc:sldMk cId="2550942231" sldId="2147310035"/>
            <ac:spMk id="6" creationId="{BCE47DE4-1FEF-03F9-E5ED-F33E79BD091C}"/>
          </ac:spMkLst>
        </pc:spChg>
        <pc:spChg chg="add del">
          <ac:chgData name="Fernando Enrique Nuñez Zapata" userId="4887fb29-3871-42a7-b0aa-ea8d45a5c181" providerId="ADAL" clId="{C49C2598-DE4D-4CD0-A197-C1971AACDF4C}" dt="2024-09-10T15:19:41.343" v="53" actId="478"/>
          <ac:spMkLst>
            <pc:docMk/>
            <pc:sldMk cId="2550942231" sldId="2147310035"/>
            <ac:spMk id="6" creationId="{D84DAA02-FFC1-AE14-04DC-65FDA5143184}"/>
          </ac:spMkLst>
        </pc:spChg>
        <pc:spChg chg="add mod">
          <ac:chgData name="Fernando Enrique Nuñez Zapata" userId="4887fb29-3871-42a7-b0aa-ea8d45a5c181" providerId="ADAL" clId="{C49C2598-DE4D-4CD0-A197-C1971AACDF4C}" dt="2024-09-18T21:39:15.767" v="2551" actId="207"/>
          <ac:spMkLst>
            <pc:docMk/>
            <pc:sldMk cId="2550942231" sldId="2147310035"/>
            <ac:spMk id="7" creationId="{721F7B3A-8CB3-C826-90DC-15E1A759FE5B}"/>
          </ac:spMkLst>
        </pc:spChg>
        <pc:spChg chg="add del">
          <ac:chgData name="Fernando Enrique Nuñez Zapata" userId="4887fb29-3871-42a7-b0aa-ea8d45a5c181" providerId="ADAL" clId="{C49C2598-DE4D-4CD0-A197-C1971AACDF4C}" dt="2024-09-10T15:19:41.343" v="53" actId="478"/>
          <ac:spMkLst>
            <pc:docMk/>
            <pc:sldMk cId="2550942231" sldId="2147310035"/>
            <ac:spMk id="10" creationId="{4B083221-15F5-F192-CE5B-A0B8D068E27F}"/>
          </ac:spMkLst>
        </pc:spChg>
        <pc:spChg chg="del">
          <ac:chgData name="Fernando Enrique Nuñez Zapata" userId="4887fb29-3871-42a7-b0aa-ea8d45a5c181" providerId="ADAL" clId="{C49C2598-DE4D-4CD0-A197-C1971AACDF4C}" dt="2024-09-17T15:37:54.844" v="1449" actId="478"/>
          <ac:spMkLst>
            <pc:docMk/>
            <pc:sldMk cId="2550942231" sldId="2147310035"/>
            <ac:spMk id="11" creationId="{DC3BD483-F9C1-8DFE-E338-7EA0168F4F08}"/>
          </ac:spMkLst>
        </pc:spChg>
        <pc:spChg chg="add del">
          <ac:chgData name="Fernando Enrique Nuñez Zapata" userId="4887fb29-3871-42a7-b0aa-ea8d45a5c181" providerId="ADAL" clId="{C49C2598-DE4D-4CD0-A197-C1971AACDF4C}" dt="2024-09-10T15:19:41.343" v="53" actId="478"/>
          <ac:spMkLst>
            <pc:docMk/>
            <pc:sldMk cId="2550942231" sldId="2147310035"/>
            <ac:spMk id="12" creationId="{05CE4673-B51C-D1D6-458C-31F617161ECE}"/>
          </ac:spMkLst>
        </pc:spChg>
        <pc:spChg chg="add del">
          <ac:chgData name="Fernando Enrique Nuñez Zapata" userId="4887fb29-3871-42a7-b0aa-ea8d45a5c181" providerId="ADAL" clId="{C49C2598-DE4D-4CD0-A197-C1971AACDF4C}" dt="2024-09-10T15:18:59.987" v="30" actId="478"/>
          <ac:spMkLst>
            <pc:docMk/>
            <pc:sldMk cId="2550942231" sldId="2147310035"/>
            <ac:spMk id="13" creationId="{16052F5B-B4D1-F58F-AC20-DBC3C5229EEB}"/>
          </ac:spMkLst>
        </pc:spChg>
        <pc:spChg chg="add del">
          <ac:chgData name="Fernando Enrique Nuñez Zapata" userId="4887fb29-3871-42a7-b0aa-ea8d45a5c181" providerId="ADAL" clId="{C49C2598-DE4D-4CD0-A197-C1971AACDF4C}" dt="2024-09-10T15:18:59.987" v="30" actId="478"/>
          <ac:spMkLst>
            <pc:docMk/>
            <pc:sldMk cId="2550942231" sldId="2147310035"/>
            <ac:spMk id="14" creationId="{FC7AB63A-B305-B544-E033-099DA4B35D76}"/>
          </ac:spMkLst>
        </pc:spChg>
        <pc:spChg chg="add del">
          <ac:chgData name="Fernando Enrique Nuñez Zapata" userId="4887fb29-3871-42a7-b0aa-ea8d45a5c181" providerId="ADAL" clId="{C49C2598-DE4D-4CD0-A197-C1971AACDF4C}" dt="2024-09-10T15:18:59.987" v="30" actId="478"/>
          <ac:spMkLst>
            <pc:docMk/>
            <pc:sldMk cId="2550942231" sldId="2147310035"/>
            <ac:spMk id="15" creationId="{4F06D39C-6514-3D3E-1590-70FBDC06403D}"/>
          </ac:spMkLst>
        </pc:spChg>
        <pc:spChg chg="add del">
          <ac:chgData name="Fernando Enrique Nuñez Zapata" userId="4887fb29-3871-42a7-b0aa-ea8d45a5c181" providerId="ADAL" clId="{C49C2598-DE4D-4CD0-A197-C1971AACDF4C}" dt="2024-09-10T15:19:41.343" v="53" actId="478"/>
          <ac:spMkLst>
            <pc:docMk/>
            <pc:sldMk cId="2550942231" sldId="2147310035"/>
            <ac:spMk id="17" creationId="{C726D157-79AD-B1FA-CC5B-437E41D1E735}"/>
          </ac:spMkLst>
        </pc:spChg>
        <pc:spChg chg="mod">
          <ac:chgData name="Fernando Enrique Nuñez Zapata" userId="4887fb29-3871-42a7-b0aa-ea8d45a5c181" providerId="ADAL" clId="{C49C2598-DE4D-4CD0-A197-C1971AACDF4C}" dt="2024-09-17T15:38:34.034" v="1545" actId="1035"/>
          <ac:spMkLst>
            <pc:docMk/>
            <pc:sldMk cId="2550942231" sldId="2147310035"/>
            <ac:spMk id="18" creationId="{759FCAA5-0F4B-EA09-2DB6-65D631756F27}"/>
          </ac:spMkLst>
        </pc:spChg>
        <pc:spChg chg="add mod">
          <ac:chgData name="Fernando Enrique Nuñez Zapata" userId="4887fb29-3871-42a7-b0aa-ea8d45a5c181" providerId="ADAL" clId="{C49C2598-DE4D-4CD0-A197-C1971AACDF4C}" dt="2024-09-18T22:12:33.843" v="2744" actId="208"/>
          <ac:spMkLst>
            <pc:docMk/>
            <pc:sldMk cId="2550942231" sldId="2147310035"/>
            <ac:spMk id="19" creationId="{F01B1005-7B32-C252-2673-FAB28469E86F}"/>
          </ac:spMkLst>
        </pc:spChg>
        <pc:spChg chg="mod">
          <ac:chgData name="Fernando Enrique Nuñez Zapata" userId="4887fb29-3871-42a7-b0aa-ea8d45a5c181" providerId="ADAL" clId="{C49C2598-DE4D-4CD0-A197-C1971AACDF4C}" dt="2024-09-18T21:43:30.453" v="2566" actId="1038"/>
          <ac:spMkLst>
            <pc:docMk/>
            <pc:sldMk cId="2550942231" sldId="2147310035"/>
            <ac:spMk id="20" creationId="{0024B762-D114-F046-5A8A-9FD72FB66685}"/>
          </ac:spMkLst>
        </pc:spChg>
        <pc:spChg chg="add mod">
          <ac:chgData name="Fernando Enrique Nuñez Zapata" userId="4887fb29-3871-42a7-b0aa-ea8d45a5c181" providerId="ADAL" clId="{C49C2598-DE4D-4CD0-A197-C1971AACDF4C}" dt="2024-09-18T22:12:17.118" v="2743" actId="108"/>
          <ac:spMkLst>
            <pc:docMk/>
            <pc:sldMk cId="2550942231" sldId="2147310035"/>
            <ac:spMk id="21" creationId="{F6A7098D-7998-E54D-C661-EFD9C17304B8}"/>
          </ac:spMkLst>
        </pc:spChg>
        <pc:spChg chg="add mod">
          <ac:chgData name="Fernando Enrique Nuñez Zapata" userId="4887fb29-3871-42a7-b0aa-ea8d45a5c181" providerId="ADAL" clId="{C49C2598-DE4D-4CD0-A197-C1971AACDF4C}" dt="2024-09-18T22:12:33.843" v="2744" actId="208"/>
          <ac:spMkLst>
            <pc:docMk/>
            <pc:sldMk cId="2550942231" sldId="2147310035"/>
            <ac:spMk id="22" creationId="{47315E2F-5282-D16E-4F88-61661565DC6D}"/>
          </ac:spMkLst>
        </pc:spChg>
        <pc:spChg chg="add del">
          <ac:chgData name="Fernando Enrique Nuñez Zapata" userId="4887fb29-3871-42a7-b0aa-ea8d45a5c181" providerId="ADAL" clId="{C49C2598-DE4D-4CD0-A197-C1971AACDF4C}" dt="2024-09-10T15:19:41.343" v="53" actId="478"/>
          <ac:spMkLst>
            <pc:docMk/>
            <pc:sldMk cId="2550942231" sldId="2147310035"/>
            <ac:spMk id="25" creationId="{D8EE42EA-5681-F374-8F35-1030FCBAA1F4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29" creationId="{9E612E48-CE1B-7FB9-6928-7FE6C86D2C24}"/>
          </ac:spMkLst>
        </pc:spChg>
        <pc:spChg chg="add mod">
          <ac:chgData name="Fernando Enrique Nuñez Zapata" userId="4887fb29-3871-42a7-b0aa-ea8d45a5c181" providerId="ADAL" clId="{C49C2598-DE4D-4CD0-A197-C1971AACDF4C}" dt="2024-09-18T22:13:03.286" v="2750" actId="208"/>
          <ac:spMkLst>
            <pc:docMk/>
            <pc:sldMk cId="2550942231" sldId="2147310035"/>
            <ac:spMk id="29" creationId="{BAA5A0E8-BAA2-ED03-6D6D-5C0FB169CEEF}"/>
          </ac:spMkLst>
        </pc:spChg>
        <pc:spChg chg="add mod">
          <ac:chgData name="Fernando Enrique Nuñez Zapata" userId="4887fb29-3871-42a7-b0aa-ea8d45a5c181" providerId="ADAL" clId="{C49C2598-DE4D-4CD0-A197-C1971AACDF4C}" dt="2024-09-18T22:12:48.165" v="2746" actId="208"/>
          <ac:spMkLst>
            <pc:docMk/>
            <pc:sldMk cId="2550942231" sldId="2147310035"/>
            <ac:spMk id="30" creationId="{BDF6A7EE-D34F-E793-D742-9BF5F68B0A16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30" creationId="{DCF0A007-0AEE-ADB7-D809-50EC66EFE6AC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31" creationId="{28BE676D-5CC2-7F20-3CC6-4BDB091EDA7E}"/>
          </ac:spMkLst>
        </pc:spChg>
        <pc:spChg chg="add mod">
          <ac:chgData name="Fernando Enrique Nuñez Zapata" userId="4887fb29-3871-42a7-b0aa-ea8d45a5c181" providerId="ADAL" clId="{C49C2598-DE4D-4CD0-A197-C1971AACDF4C}" dt="2024-09-18T22:13:03.286" v="2750" actId="208"/>
          <ac:spMkLst>
            <pc:docMk/>
            <pc:sldMk cId="2550942231" sldId="2147310035"/>
            <ac:spMk id="31" creationId="{87026121-59F9-1EB0-B9F8-98DB53A3FB97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32" creationId="{7A9C8B5D-1A71-E70E-632F-36187B7C5D07}"/>
          </ac:spMkLst>
        </pc:spChg>
        <pc:spChg chg="add mod">
          <ac:chgData name="Fernando Enrique Nuñez Zapata" userId="4887fb29-3871-42a7-b0aa-ea8d45a5c181" providerId="ADAL" clId="{C49C2598-DE4D-4CD0-A197-C1971AACDF4C}" dt="2024-09-18T22:12:58.167" v="2748" actId="208"/>
          <ac:spMkLst>
            <pc:docMk/>
            <pc:sldMk cId="2550942231" sldId="2147310035"/>
            <ac:spMk id="32" creationId="{E8F4B79B-E50E-83DE-38FA-513155436D6D}"/>
          </ac:spMkLst>
        </pc:spChg>
        <pc:spChg chg="mod">
          <ac:chgData name="Fernando Enrique Nuñez Zapata" userId="4887fb29-3871-42a7-b0aa-ea8d45a5c181" providerId="ADAL" clId="{C49C2598-DE4D-4CD0-A197-C1971AACDF4C}" dt="2024-09-17T15:38:12.305" v="1489" actId="1035"/>
          <ac:spMkLst>
            <pc:docMk/>
            <pc:sldMk cId="2550942231" sldId="2147310035"/>
            <ac:spMk id="33" creationId="{F65749C1-D038-85F2-BED4-98F635681474}"/>
          </ac:spMkLst>
        </pc:spChg>
        <pc:spChg chg="add mod">
          <ac:chgData name="Fernando Enrique Nuñez Zapata" userId="4887fb29-3871-42a7-b0aa-ea8d45a5c181" providerId="ADAL" clId="{C49C2598-DE4D-4CD0-A197-C1971AACDF4C}" dt="2024-09-18T22:12:58.167" v="2748" actId="208"/>
          <ac:spMkLst>
            <pc:docMk/>
            <pc:sldMk cId="2550942231" sldId="2147310035"/>
            <ac:spMk id="34" creationId="{48E13D09-17C6-DD92-6525-D3179319C380}"/>
          </ac:spMkLst>
        </pc:spChg>
        <pc:spChg chg="del">
          <ac:chgData name="Fernando Enrique Nuñez Zapata" userId="4887fb29-3871-42a7-b0aa-ea8d45a5c181" providerId="ADAL" clId="{C49C2598-DE4D-4CD0-A197-C1971AACDF4C}" dt="2024-09-10T15:20:33.273" v="58" actId="478"/>
          <ac:spMkLst>
            <pc:docMk/>
            <pc:sldMk cId="2550942231" sldId="2147310035"/>
            <ac:spMk id="34" creationId="{A0C9E43F-39E3-3AC8-A120-077D7A1F1316}"/>
          </ac:spMkLst>
        </pc:spChg>
        <pc:spChg chg="add mod">
          <ac:chgData name="Fernando Enrique Nuñez Zapata" userId="4887fb29-3871-42a7-b0aa-ea8d45a5c181" providerId="ADAL" clId="{C49C2598-DE4D-4CD0-A197-C1971AACDF4C}" dt="2024-09-18T22:12:58.167" v="2748" actId="208"/>
          <ac:spMkLst>
            <pc:docMk/>
            <pc:sldMk cId="2550942231" sldId="2147310035"/>
            <ac:spMk id="35" creationId="{0D755D88-7F37-07A9-CCC9-E463A29C8ABB}"/>
          </ac:spMkLst>
        </pc:spChg>
        <pc:spChg chg="del">
          <ac:chgData name="Fernando Enrique Nuñez Zapata" userId="4887fb29-3871-42a7-b0aa-ea8d45a5c181" providerId="ADAL" clId="{C49C2598-DE4D-4CD0-A197-C1971AACDF4C}" dt="2024-09-10T15:21:44.058" v="60" actId="478"/>
          <ac:spMkLst>
            <pc:docMk/>
            <pc:sldMk cId="2550942231" sldId="2147310035"/>
            <ac:spMk id="35" creationId="{32CA3136-FF6D-5641-F26D-AEDD60253547}"/>
          </ac:spMkLst>
        </pc:spChg>
        <pc:spChg chg="del">
          <ac:chgData name="Fernando Enrique Nuñez Zapata" userId="4887fb29-3871-42a7-b0aa-ea8d45a5c181" providerId="ADAL" clId="{C49C2598-DE4D-4CD0-A197-C1971AACDF4C}" dt="2024-09-10T15:21:44.058" v="60" actId="478"/>
          <ac:spMkLst>
            <pc:docMk/>
            <pc:sldMk cId="2550942231" sldId="2147310035"/>
            <ac:spMk id="36" creationId="{546A3460-1BED-122D-761A-E53D2365A58D}"/>
          </ac:spMkLst>
        </pc:spChg>
        <pc:spChg chg="add mod">
          <ac:chgData name="Fernando Enrique Nuñez Zapata" userId="4887fb29-3871-42a7-b0aa-ea8d45a5c181" providerId="ADAL" clId="{C49C2598-DE4D-4CD0-A197-C1971AACDF4C}" dt="2024-09-18T22:12:44.699" v="2745" actId="208"/>
          <ac:spMkLst>
            <pc:docMk/>
            <pc:sldMk cId="2550942231" sldId="2147310035"/>
            <ac:spMk id="36" creationId="{7B71F4D8-E1AC-8B78-76AC-F80CFCB0C967}"/>
          </ac:spMkLst>
        </pc:spChg>
        <pc:spChg chg="del">
          <ac:chgData name="Fernando Enrique Nuñez Zapata" userId="4887fb29-3871-42a7-b0aa-ea8d45a5c181" providerId="ADAL" clId="{C49C2598-DE4D-4CD0-A197-C1971AACDF4C}" dt="2024-09-10T15:21:44.058" v="60" actId="478"/>
          <ac:spMkLst>
            <pc:docMk/>
            <pc:sldMk cId="2550942231" sldId="2147310035"/>
            <ac:spMk id="37" creationId="{51CED139-87E9-9DCC-2363-939FEEBFAB77}"/>
          </ac:spMkLst>
        </pc:spChg>
        <pc:spChg chg="add mod">
          <ac:chgData name="Fernando Enrique Nuñez Zapata" userId="4887fb29-3871-42a7-b0aa-ea8d45a5c181" providerId="ADAL" clId="{C49C2598-DE4D-4CD0-A197-C1971AACDF4C}" dt="2024-09-18T22:12:44.699" v="2745" actId="208"/>
          <ac:spMkLst>
            <pc:docMk/>
            <pc:sldMk cId="2550942231" sldId="2147310035"/>
            <ac:spMk id="37" creationId="{B8129CEA-23DD-28D9-BF5A-8C455A237595}"/>
          </ac:spMkLst>
        </pc:spChg>
        <pc:spChg chg="add mod">
          <ac:chgData name="Fernando Enrique Nuñez Zapata" userId="4887fb29-3871-42a7-b0aa-ea8d45a5c181" providerId="ADAL" clId="{C49C2598-DE4D-4CD0-A197-C1971AACDF4C}" dt="2024-09-18T22:12:44.699" v="2745" actId="208"/>
          <ac:spMkLst>
            <pc:docMk/>
            <pc:sldMk cId="2550942231" sldId="2147310035"/>
            <ac:spMk id="38" creationId="{AFB49853-273A-D449-1A38-AA1133FC6CDF}"/>
          </ac:spMkLst>
        </pc:spChg>
        <pc:spChg chg="del">
          <ac:chgData name="Fernando Enrique Nuñez Zapata" userId="4887fb29-3871-42a7-b0aa-ea8d45a5c181" providerId="ADAL" clId="{C49C2598-DE4D-4CD0-A197-C1971AACDF4C}" dt="2024-09-10T15:22:19.281" v="63" actId="478"/>
          <ac:spMkLst>
            <pc:docMk/>
            <pc:sldMk cId="2550942231" sldId="2147310035"/>
            <ac:spMk id="38" creationId="{E6674BF0-AF50-5180-15BC-078661131C1D}"/>
          </ac:spMkLst>
        </pc:spChg>
        <pc:spChg chg="add mod">
          <ac:chgData name="Fernando Enrique Nuñez Zapata" userId="4887fb29-3871-42a7-b0aa-ea8d45a5c181" providerId="ADAL" clId="{C49C2598-DE4D-4CD0-A197-C1971AACDF4C}" dt="2024-09-18T22:12:33.843" v="2744" actId="208"/>
          <ac:spMkLst>
            <pc:docMk/>
            <pc:sldMk cId="2550942231" sldId="2147310035"/>
            <ac:spMk id="39" creationId="{7E121720-A384-F5CE-56E6-BCBA116053BB}"/>
          </ac:spMkLst>
        </pc:spChg>
        <pc:spChg chg="del">
          <ac:chgData name="Fernando Enrique Nuñez Zapata" userId="4887fb29-3871-42a7-b0aa-ea8d45a5c181" providerId="ADAL" clId="{C49C2598-DE4D-4CD0-A197-C1971AACDF4C}" dt="2024-09-10T15:22:19.281" v="63" actId="478"/>
          <ac:spMkLst>
            <pc:docMk/>
            <pc:sldMk cId="2550942231" sldId="2147310035"/>
            <ac:spMk id="39" creationId="{C38CFC3E-EB9D-97B4-AA03-EDD10D516D5E}"/>
          </ac:spMkLst>
        </pc:spChg>
        <pc:spChg chg="add mod">
          <ac:chgData name="Fernando Enrique Nuñez Zapata" userId="4887fb29-3871-42a7-b0aa-ea8d45a5c181" providerId="ADAL" clId="{C49C2598-DE4D-4CD0-A197-C1971AACDF4C}" dt="2024-09-18T22:13:03.286" v="2750" actId="208"/>
          <ac:spMkLst>
            <pc:docMk/>
            <pc:sldMk cId="2550942231" sldId="2147310035"/>
            <ac:spMk id="40" creationId="{3D0F4E4D-E669-FFB2-CC42-BA3501F566A3}"/>
          </ac:spMkLst>
        </pc:spChg>
        <pc:spChg chg="del">
          <ac:chgData name="Fernando Enrique Nuñez Zapata" userId="4887fb29-3871-42a7-b0aa-ea8d45a5c181" providerId="ADAL" clId="{C49C2598-DE4D-4CD0-A197-C1971AACDF4C}" dt="2024-09-10T15:22:19.281" v="63" actId="478"/>
          <ac:spMkLst>
            <pc:docMk/>
            <pc:sldMk cId="2550942231" sldId="2147310035"/>
            <ac:spMk id="40" creationId="{45A087FC-AEA5-E6CE-5438-5987C45DC09A}"/>
          </ac:spMkLst>
        </pc:spChg>
        <pc:spChg chg="del">
          <ac:chgData name="Fernando Enrique Nuñez Zapata" userId="4887fb29-3871-42a7-b0aa-ea8d45a5c181" providerId="ADAL" clId="{C49C2598-DE4D-4CD0-A197-C1971AACDF4C}" dt="2024-09-10T15:22:19.281" v="63" actId="478"/>
          <ac:spMkLst>
            <pc:docMk/>
            <pc:sldMk cId="2550942231" sldId="2147310035"/>
            <ac:spMk id="41" creationId="{66CEA737-AF56-4A2D-DA24-6750F69C85BE}"/>
          </ac:spMkLst>
        </pc:spChg>
        <pc:spChg chg="add mod">
          <ac:chgData name="Fernando Enrique Nuñez Zapata" userId="4887fb29-3871-42a7-b0aa-ea8d45a5c181" providerId="ADAL" clId="{C49C2598-DE4D-4CD0-A197-C1971AACDF4C}" dt="2024-09-18T22:12:58.167" v="2748" actId="208"/>
          <ac:spMkLst>
            <pc:docMk/>
            <pc:sldMk cId="2550942231" sldId="2147310035"/>
            <ac:spMk id="41" creationId="{84959138-1409-36D5-33A5-7DEDC95B6307}"/>
          </ac:spMkLst>
        </pc:spChg>
        <pc:spChg chg="add del">
          <ac:chgData name="Fernando Enrique Nuñez Zapata" userId="4887fb29-3871-42a7-b0aa-ea8d45a5c181" providerId="ADAL" clId="{C49C2598-DE4D-4CD0-A197-C1971AACDF4C}" dt="2024-09-10T15:19:41.343" v="53" actId="478"/>
          <ac:spMkLst>
            <pc:docMk/>
            <pc:sldMk cId="2550942231" sldId="2147310035"/>
            <ac:spMk id="42" creationId="{76E9A687-70EE-C71D-D4C7-6259516B9B45}"/>
          </ac:spMkLst>
        </pc:spChg>
        <pc:spChg chg="add mod">
          <ac:chgData name="Fernando Enrique Nuñez Zapata" userId="4887fb29-3871-42a7-b0aa-ea8d45a5c181" providerId="ADAL" clId="{C49C2598-DE4D-4CD0-A197-C1971AACDF4C}" dt="2024-09-18T22:12:44.699" v="2745" actId="208"/>
          <ac:spMkLst>
            <pc:docMk/>
            <pc:sldMk cId="2550942231" sldId="2147310035"/>
            <ac:spMk id="42" creationId="{BDADA2E6-9518-C8F5-7F91-BCCF03839C24}"/>
          </ac:spMkLst>
        </pc:spChg>
        <pc:spChg chg="del">
          <ac:chgData name="Fernando Enrique Nuñez Zapata" userId="4887fb29-3871-42a7-b0aa-ea8d45a5c181" providerId="ADAL" clId="{C49C2598-DE4D-4CD0-A197-C1971AACDF4C}" dt="2024-09-10T15:20:31.009" v="57" actId="478"/>
          <ac:spMkLst>
            <pc:docMk/>
            <pc:sldMk cId="2550942231" sldId="2147310035"/>
            <ac:spMk id="43" creationId="{DE055782-96B7-21A2-483E-A67B97E79C55}"/>
          </ac:spMkLst>
        </pc:spChg>
        <pc:spChg chg="add mod">
          <ac:chgData name="Fernando Enrique Nuñez Zapata" userId="4887fb29-3871-42a7-b0aa-ea8d45a5c181" providerId="ADAL" clId="{C49C2598-DE4D-4CD0-A197-C1971AACDF4C}" dt="2024-09-18T22:12:33.843" v="2744" actId="208"/>
          <ac:spMkLst>
            <pc:docMk/>
            <pc:sldMk cId="2550942231" sldId="2147310035"/>
            <ac:spMk id="43" creationId="{EC2F7B9B-03A7-895E-C5E0-D2F49A1DF87D}"/>
          </ac:spMkLst>
        </pc:spChg>
        <pc:spChg chg="add mod">
          <ac:chgData name="Fernando Enrique Nuñez Zapata" userId="4887fb29-3871-42a7-b0aa-ea8d45a5c181" providerId="ADAL" clId="{C49C2598-DE4D-4CD0-A197-C1971AACDF4C}" dt="2024-09-18T22:13:03.286" v="2750" actId="208"/>
          <ac:spMkLst>
            <pc:docMk/>
            <pc:sldMk cId="2550942231" sldId="2147310035"/>
            <ac:spMk id="44" creationId="{6AD4E19F-D059-8735-4AD9-DD96F5ADC334}"/>
          </ac:spMkLst>
        </pc:spChg>
        <pc:spChg chg="del">
          <ac:chgData name="Fernando Enrique Nuñez Zapata" userId="4887fb29-3871-42a7-b0aa-ea8d45a5c181" providerId="ADAL" clId="{C49C2598-DE4D-4CD0-A197-C1971AACDF4C}" dt="2024-09-10T15:21:44.058" v="60" actId="478"/>
          <ac:spMkLst>
            <pc:docMk/>
            <pc:sldMk cId="2550942231" sldId="2147310035"/>
            <ac:spMk id="44" creationId="{FE50AD01-E4E2-ED1B-030A-DA36DF3CE697}"/>
          </ac:spMkLst>
        </pc:spChg>
        <pc:spChg chg="del">
          <ac:chgData name="Fernando Enrique Nuñez Zapata" userId="4887fb29-3871-42a7-b0aa-ea8d45a5c181" providerId="ADAL" clId="{C49C2598-DE4D-4CD0-A197-C1971AACDF4C}" dt="2024-09-10T15:21:44.058" v="60" actId="478"/>
          <ac:spMkLst>
            <pc:docMk/>
            <pc:sldMk cId="2550942231" sldId="2147310035"/>
            <ac:spMk id="45" creationId="{4666185B-786D-3044-5F61-D829B71537D4}"/>
          </ac:spMkLst>
        </pc:spChg>
        <pc:spChg chg="add mod">
          <ac:chgData name="Fernando Enrique Nuñez Zapata" userId="4887fb29-3871-42a7-b0aa-ea8d45a5c181" providerId="ADAL" clId="{C49C2598-DE4D-4CD0-A197-C1971AACDF4C}" dt="2024-09-18T22:12:58.167" v="2748" actId="208"/>
          <ac:spMkLst>
            <pc:docMk/>
            <pc:sldMk cId="2550942231" sldId="2147310035"/>
            <ac:spMk id="45" creationId="{EE449F8E-707D-6155-AC79-030F18336BA8}"/>
          </ac:spMkLst>
        </pc:spChg>
        <pc:spChg chg="del">
          <ac:chgData name="Fernando Enrique Nuñez Zapata" userId="4887fb29-3871-42a7-b0aa-ea8d45a5c181" providerId="ADAL" clId="{C49C2598-DE4D-4CD0-A197-C1971AACDF4C}" dt="2024-09-10T15:21:44.058" v="60" actId="478"/>
          <ac:spMkLst>
            <pc:docMk/>
            <pc:sldMk cId="2550942231" sldId="2147310035"/>
            <ac:spMk id="46" creationId="{4A16E8FE-02BE-8E1F-64A8-D21A6BCC75FC}"/>
          </ac:spMkLst>
        </pc:spChg>
        <pc:spChg chg="add mod">
          <ac:chgData name="Fernando Enrique Nuñez Zapata" userId="4887fb29-3871-42a7-b0aa-ea8d45a5c181" providerId="ADAL" clId="{C49C2598-DE4D-4CD0-A197-C1971AACDF4C}" dt="2024-09-18T22:12:44.699" v="2745" actId="208"/>
          <ac:spMkLst>
            <pc:docMk/>
            <pc:sldMk cId="2550942231" sldId="2147310035"/>
            <ac:spMk id="46" creationId="{D9DE945E-69EA-95A2-6896-178E542BB35F}"/>
          </ac:spMkLst>
        </pc:spChg>
        <pc:spChg chg="del">
          <ac:chgData name="Fernando Enrique Nuñez Zapata" userId="4887fb29-3871-42a7-b0aa-ea8d45a5c181" providerId="ADAL" clId="{C49C2598-DE4D-4CD0-A197-C1971AACDF4C}" dt="2024-09-10T15:22:19.281" v="63" actId="478"/>
          <ac:spMkLst>
            <pc:docMk/>
            <pc:sldMk cId="2550942231" sldId="2147310035"/>
            <ac:spMk id="47" creationId="{6CD5143C-553C-5009-5652-817C335C518F}"/>
          </ac:spMkLst>
        </pc:spChg>
        <pc:spChg chg="add del mod">
          <ac:chgData name="Fernando Enrique Nuñez Zapata" userId="4887fb29-3871-42a7-b0aa-ea8d45a5c181" providerId="ADAL" clId="{C49C2598-DE4D-4CD0-A197-C1971AACDF4C}" dt="2024-09-18T21:35:36.549" v="2546" actId="478"/>
          <ac:spMkLst>
            <pc:docMk/>
            <pc:sldMk cId="2550942231" sldId="2147310035"/>
            <ac:spMk id="47" creationId="{B11481DF-4D10-C2BC-7F9A-D82933D21709}"/>
          </ac:spMkLst>
        </pc:spChg>
        <pc:spChg chg="del">
          <ac:chgData name="Fernando Enrique Nuñez Zapata" userId="4887fb29-3871-42a7-b0aa-ea8d45a5c181" providerId="ADAL" clId="{C49C2598-DE4D-4CD0-A197-C1971AACDF4C}" dt="2024-09-10T15:22:19.281" v="63" actId="478"/>
          <ac:spMkLst>
            <pc:docMk/>
            <pc:sldMk cId="2550942231" sldId="2147310035"/>
            <ac:spMk id="48" creationId="{4FFA6144-529D-11A5-D0B0-53B94D0B6270}"/>
          </ac:spMkLst>
        </pc:spChg>
        <pc:spChg chg="add del mod">
          <ac:chgData name="Fernando Enrique Nuñez Zapata" userId="4887fb29-3871-42a7-b0aa-ea8d45a5c181" providerId="ADAL" clId="{C49C2598-DE4D-4CD0-A197-C1971AACDF4C}" dt="2024-09-18T21:35:36.549" v="2546" actId="478"/>
          <ac:spMkLst>
            <pc:docMk/>
            <pc:sldMk cId="2550942231" sldId="2147310035"/>
            <ac:spMk id="48" creationId="{F49EC534-F52C-4A80-87C7-8876F835F736}"/>
          </ac:spMkLst>
        </pc:spChg>
        <pc:spChg chg="add del mod">
          <ac:chgData name="Fernando Enrique Nuñez Zapata" userId="4887fb29-3871-42a7-b0aa-ea8d45a5c181" providerId="ADAL" clId="{C49C2598-DE4D-4CD0-A197-C1971AACDF4C}" dt="2024-09-18T21:35:36.549" v="2546" actId="478"/>
          <ac:spMkLst>
            <pc:docMk/>
            <pc:sldMk cId="2550942231" sldId="2147310035"/>
            <ac:spMk id="50" creationId="{6A96DCFA-2A3D-7B38-C8E4-F28F1DEC447F}"/>
          </ac:spMkLst>
        </pc:spChg>
        <pc:spChg chg="del">
          <ac:chgData name="Fernando Enrique Nuñez Zapata" userId="4887fb29-3871-42a7-b0aa-ea8d45a5c181" providerId="ADAL" clId="{C49C2598-DE4D-4CD0-A197-C1971AACDF4C}" dt="2024-09-10T15:22:19.281" v="63" actId="478"/>
          <ac:spMkLst>
            <pc:docMk/>
            <pc:sldMk cId="2550942231" sldId="2147310035"/>
            <ac:spMk id="50" creationId="{D8BD363D-6A6F-4EB5-06A8-0EE7E3B52B60}"/>
          </ac:spMkLst>
        </pc:spChg>
        <pc:spChg chg="add del mod">
          <ac:chgData name="Fernando Enrique Nuñez Zapata" userId="4887fb29-3871-42a7-b0aa-ea8d45a5c181" providerId="ADAL" clId="{C49C2598-DE4D-4CD0-A197-C1971AACDF4C}" dt="2024-09-18T21:35:36.549" v="2546" actId="478"/>
          <ac:spMkLst>
            <pc:docMk/>
            <pc:sldMk cId="2550942231" sldId="2147310035"/>
            <ac:spMk id="51" creationId="{1F187FE4-C2EF-3602-424C-4D68277F3423}"/>
          </ac:spMkLst>
        </pc:spChg>
        <pc:spChg chg="del">
          <ac:chgData name="Fernando Enrique Nuñez Zapata" userId="4887fb29-3871-42a7-b0aa-ea8d45a5c181" providerId="ADAL" clId="{C49C2598-DE4D-4CD0-A197-C1971AACDF4C}" dt="2024-09-10T15:22:19.281" v="63" actId="478"/>
          <ac:spMkLst>
            <pc:docMk/>
            <pc:sldMk cId="2550942231" sldId="2147310035"/>
            <ac:spMk id="60" creationId="{183D9D5A-19E3-D8C4-156C-2E7FD870FB48}"/>
          </ac:spMkLst>
        </pc:spChg>
        <pc:spChg chg="add del mod">
          <ac:chgData name="Fernando Enrique Nuñez Zapata" userId="4887fb29-3871-42a7-b0aa-ea8d45a5c181" providerId="ADAL" clId="{C49C2598-DE4D-4CD0-A197-C1971AACDF4C}" dt="2024-09-18T21:35:36.549" v="2546" actId="478"/>
          <ac:spMkLst>
            <pc:docMk/>
            <pc:sldMk cId="2550942231" sldId="2147310035"/>
            <ac:spMk id="60" creationId="{EEA66DB9-CCC1-C212-3CAC-B0B60FA8425D}"/>
          </ac:spMkLst>
        </pc:spChg>
        <pc:spChg chg="add del mod">
          <ac:chgData name="Fernando Enrique Nuñez Zapata" userId="4887fb29-3871-42a7-b0aa-ea8d45a5c181" providerId="ADAL" clId="{C49C2598-DE4D-4CD0-A197-C1971AACDF4C}" dt="2024-09-18T21:35:36.549" v="2546" actId="478"/>
          <ac:spMkLst>
            <pc:docMk/>
            <pc:sldMk cId="2550942231" sldId="2147310035"/>
            <ac:spMk id="62" creationId="{63D381EF-9128-66FF-CDE7-B2288B6EE304}"/>
          </ac:spMkLst>
        </pc:spChg>
        <pc:spChg chg="del">
          <ac:chgData name="Fernando Enrique Nuñez Zapata" userId="4887fb29-3871-42a7-b0aa-ea8d45a5c181" providerId="ADAL" clId="{C49C2598-DE4D-4CD0-A197-C1971AACDF4C}" dt="2024-09-10T15:23:49.390" v="70" actId="478"/>
          <ac:spMkLst>
            <pc:docMk/>
            <pc:sldMk cId="2550942231" sldId="2147310035"/>
            <ac:spMk id="62" creationId="{693586A8-90F8-520F-7ABC-CBE0DDAA5B05}"/>
          </ac:spMkLst>
        </pc:spChg>
        <pc:spChg chg="add del mod">
          <ac:chgData name="Fernando Enrique Nuñez Zapata" userId="4887fb29-3871-42a7-b0aa-ea8d45a5c181" providerId="ADAL" clId="{C49C2598-DE4D-4CD0-A197-C1971AACDF4C}" dt="2024-09-18T21:35:36.549" v="2546" actId="478"/>
          <ac:spMkLst>
            <pc:docMk/>
            <pc:sldMk cId="2550942231" sldId="2147310035"/>
            <ac:spMk id="63" creationId="{A50C8549-D125-F8D9-3E41-303792DA2FFB}"/>
          </ac:spMkLst>
        </pc:spChg>
        <pc:spChg chg="del">
          <ac:chgData name="Fernando Enrique Nuñez Zapata" userId="4887fb29-3871-42a7-b0aa-ea8d45a5c181" providerId="ADAL" clId="{C49C2598-DE4D-4CD0-A197-C1971AACDF4C}" dt="2024-09-10T15:23:49.390" v="70" actId="478"/>
          <ac:spMkLst>
            <pc:docMk/>
            <pc:sldMk cId="2550942231" sldId="2147310035"/>
            <ac:spMk id="63" creationId="{D93A7900-9BFB-54FA-90CF-2D75AF1CF69E}"/>
          </ac:spMkLst>
        </pc:spChg>
        <pc:spChg chg="add del mod">
          <ac:chgData name="Fernando Enrique Nuñez Zapata" userId="4887fb29-3871-42a7-b0aa-ea8d45a5c181" providerId="ADAL" clId="{C49C2598-DE4D-4CD0-A197-C1971AACDF4C}" dt="2024-09-18T21:35:36.549" v="2546" actId="478"/>
          <ac:spMkLst>
            <pc:docMk/>
            <pc:sldMk cId="2550942231" sldId="2147310035"/>
            <ac:spMk id="64" creationId="{1869D485-D576-3150-16FC-E4413A125805}"/>
          </ac:spMkLst>
        </pc:spChg>
        <pc:spChg chg="mod">
          <ac:chgData name="Fernando Enrique Nuñez Zapata" userId="4887fb29-3871-42a7-b0aa-ea8d45a5c181" providerId="ADAL" clId="{C49C2598-DE4D-4CD0-A197-C1971AACDF4C}" dt="2024-09-10T15:21:52.058" v="61" actId="108"/>
          <ac:spMkLst>
            <pc:docMk/>
            <pc:sldMk cId="2550942231" sldId="2147310035"/>
            <ac:spMk id="79" creationId="{FE815901-34C6-D913-B767-C9709E16C902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85" creationId="{34E09F77-F650-F45E-2985-35710D6D26C1}"/>
          </ac:spMkLst>
        </pc:spChg>
        <pc:spChg chg="mod">
          <ac:chgData name="Fernando Enrique Nuñez Zapata" userId="4887fb29-3871-42a7-b0aa-ea8d45a5c181" providerId="ADAL" clId="{C49C2598-DE4D-4CD0-A197-C1971AACDF4C}" dt="2024-09-17T15:38:12.305" v="1489" actId="1035"/>
          <ac:spMkLst>
            <pc:docMk/>
            <pc:sldMk cId="2550942231" sldId="2147310035"/>
            <ac:spMk id="87" creationId="{0E75F4E3-95E5-FC55-C163-6D27D0CAEEA8}"/>
          </ac:spMkLst>
        </pc:spChg>
        <pc:spChg chg="del">
          <ac:chgData name="Fernando Enrique Nuñez Zapata" userId="4887fb29-3871-42a7-b0aa-ea8d45a5c181" providerId="ADAL" clId="{C49C2598-DE4D-4CD0-A197-C1971AACDF4C}" dt="2024-09-17T15:37:57.869" v="1450" actId="478"/>
          <ac:spMkLst>
            <pc:docMk/>
            <pc:sldMk cId="2550942231" sldId="2147310035"/>
            <ac:spMk id="95" creationId="{1E36C828-9251-7A0D-8548-438D1BC31F5A}"/>
          </ac:spMkLst>
        </pc:spChg>
        <pc:spChg chg="del">
          <ac:chgData name="Fernando Enrique Nuñez Zapata" userId="4887fb29-3871-42a7-b0aa-ea8d45a5c181" providerId="ADAL" clId="{C49C2598-DE4D-4CD0-A197-C1971AACDF4C}" dt="2024-09-17T15:37:54.844" v="1449" actId="478"/>
          <ac:spMkLst>
            <pc:docMk/>
            <pc:sldMk cId="2550942231" sldId="2147310035"/>
            <ac:spMk id="99" creationId="{C0D5A59D-44DB-E684-9DB1-3A9CDE79691A}"/>
          </ac:spMkLst>
        </pc:spChg>
        <pc:spChg chg="del">
          <ac:chgData name="Fernando Enrique Nuñez Zapata" userId="4887fb29-3871-42a7-b0aa-ea8d45a5c181" providerId="ADAL" clId="{C49C2598-DE4D-4CD0-A197-C1971AACDF4C}" dt="2024-09-17T15:37:54.844" v="1449" actId="478"/>
          <ac:spMkLst>
            <pc:docMk/>
            <pc:sldMk cId="2550942231" sldId="2147310035"/>
            <ac:spMk id="101" creationId="{F56E5407-E8CF-1457-A0E3-B6C96658378F}"/>
          </ac:spMkLst>
        </pc:spChg>
        <pc:spChg chg="mod">
          <ac:chgData name="Fernando Enrique Nuñez Zapata" userId="4887fb29-3871-42a7-b0aa-ea8d45a5c181" providerId="ADAL" clId="{C49C2598-DE4D-4CD0-A197-C1971AACDF4C}" dt="2024-09-18T14:55:15.996" v="2145" actId="20577"/>
          <ac:spMkLst>
            <pc:docMk/>
            <pc:sldMk cId="2550942231" sldId="2147310035"/>
            <ac:spMk id="102" creationId="{80DD0410-EF02-293E-A16A-F38EC64F2229}"/>
          </ac:spMkLst>
        </pc:spChg>
        <pc:spChg chg="mod">
          <ac:chgData name="Fernando Enrique Nuñez Zapata" userId="4887fb29-3871-42a7-b0aa-ea8d45a5c181" providerId="ADAL" clId="{C49C2598-DE4D-4CD0-A197-C1971AACDF4C}" dt="2024-09-17T15:38:12.305" v="1489" actId="1035"/>
          <ac:spMkLst>
            <pc:docMk/>
            <pc:sldMk cId="2550942231" sldId="2147310035"/>
            <ac:spMk id="103" creationId="{1EACA632-D51B-721A-5CD5-9FC0C90B8315}"/>
          </ac:spMkLst>
        </pc:spChg>
        <pc:spChg chg="mod">
          <ac:chgData name="Fernando Enrique Nuñez Zapata" userId="4887fb29-3871-42a7-b0aa-ea8d45a5c181" providerId="ADAL" clId="{C49C2598-DE4D-4CD0-A197-C1971AACDF4C}" dt="2024-09-17T15:38:34.034" v="1545" actId="1035"/>
          <ac:spMkLst>
            <pc:docMk/>
            <pc:sldMk cId="2550942231" sldId="2147310035"/>
            <ac:spMk id="105" creationId="{73D40486-DE55-3DA7-2940-6686DB4563A5}"/>
          </ac:spMkLst>
        </pc:spChg>
        <pc:spChg chg="del">
          <ac:chgData name="Fernando Enrique Nuñez Zapata" userId="4887fb29-3871-42a7-b0aa-ea8d45a5c181" providerId="ADAL" clId="{C49C2598-DE4D-4CD0-A197-C1971AACDF4C}" dt="2024-09-17T15:37:54.844" v="1449" actId="478"/>
          <ac:spMkLst>
            <pc:docMk/>
            <pc:sldMk cId="2550942231" sldId="2147310035"/>
            <ac:spMk id="106" creationId="{72116619-BA42-BEBD-B68B-E4E2C0E492F0}"/>
          </ac:spMkLst>
        </pc:spChg>
        <pc:spChg chg="mod">
          <ac:chgData name="Fernando Enrique Nuñez Zapata" userId="4887fb29-3871-42a7-b0aa-ea8d45a5c181" providerId="ADAL" clId="{C49C2598-DE4D-4CD0-A197-C1971AACDF4C}" dt="2024-09-17T15:38:12.305" v="1489" actId="1035"/>
          <ac:spMkLst>
            <pc:docMk/>
            <pc:sldMk cId="2550942231" sldId="2147310035"/>
            <ac:spMk id="107" creationId="{9E9AE0FF-C3BF-7407-78E4-33D89378EE69}"/>
          </ac:spMkLst>
        </pc:spChg>
        <pc:spChg chg="mod">
          <ac:chgData name="Fernando Enrique Nuñez Zapata" userId="4887fb29-3871-42a7-b0aa-ea8d45a5c181" providerId="ADAL" clId="{C49C2598-DE4D-4CD0-A197-C1971AACDF4C}" dt="2024-09-17T15:38:12.305" v="1489" actId="1035"/>
          <ac:spMkLst>
            <pc:docMk/>
            <pc:sldMk cId="2550942231" sldId="2147310035"/>
            <ac:spMk id="108" creationId="{398EFD49-AF7F-F47B-C087-9EC7B69D5F90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14" creationId="{78C05AE1-1540-0069-349F-28DEC8B1CFB5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15" creationId="{7A577E8D-3FA6-AE12-0EAC-7FF5F62594C0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16" creationId="{7F4C70FC-6341-60F6-6430-036965D7440C}"/>
          </ac:spMkLst>
        </pc:spChg>
        <pc:spChg chg="del mod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17" creationId="{EE14DDD1-BB76-7FD5-646A-6476274A34F5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18" creationId="{346193BA-CFC6-AF93-D80F-D354ABC15D8C}"/>
          </ac:spMkLst>
        </pc:spChg>
        <pc:spChg chg="del mod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19" creationId="{4452A796-EFDA-3F95-082A-EF1DE9B88C82}"/>
          </ac:spMkLst>
        </pc:spChg>
        <pc:spChg chg="del mod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20" creationId="{17AEAC3F-8F13-81E8-DF47-13EEEE4875D8}"/>
          </ac:spMkLst>
        </pc:spChg>
        <pc:spChg chg="del mod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21" creationId="{E13BA966-8BCB-1DBF-56B5-68BD719CF1BF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27" creationId="{9DE9ABF5-0A88-E65E-84AF-F5675C30BA3B}"/>
          </ac:spMkLst>
        </pc:spChg>
        <pc:spChg chg="mod">
          <ac:chgData name="Fernando Enrique Nuñez Zapata" userId="4887fb29-3871-42a7-b0aa-ea8d45a5c181" providerId="ADAL" clId="{C49C2598-DE4D-4CD0-A197-C1971AACDF4C}" dt="2024-09-17T15:38:34.034" v="1545" actId="1035"/>
          <ac:spMkLst>
            <pc:docMk/>
            <pc:sldMk cId="2550942231" sldId="2147310035"/>
            <ac:spMk id="128" creationId="{F2315BB7-FBF3-84B1-9E97-AF4A3D6EEAF1}"/>
          </ac:spMkLst>
        </pc:spChg>
        <pc:spChg chg="mod">
          <ac:chgData name="Fernando Enrique Nuñez Zapata" userId="4887fb29-3871-42a7-b0aa-ea8d45a5c181" providerId="ADAL" clId="{C49C2598-DE4D-4CD0-A197-C1971AACDF4C}" dt="2024-09-17T15:38:34.034" v="1545" actId="1035"/>
          <ac:spMkLst>
            <pc:docMk/>
            <pc:sldMk cId="2550942231" sldId="2147310035"/>
            <ac:spMk id="130" creationId="{1C78E1CB-3E5F-962B-D1F3-2168A7EA4945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31" creationId="{E939B028-8F72-61EC-7C10-21F3F2AFEF07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32" creationId="{07828F8B-5380-5CE0-F41E-1CFC0EB5FCC9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33" creationId="{53D4628D-A70C-2A2E-3D8A-C5A2470F57A4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41" creationId="{607C284F-4727-DBEF-2AE1-4C5A6E213E64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42" creationId="{C15C414E-A556-3FE8-5766-C1860F840334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43" creationId="{76952B1F-5A2A-8254-663F-2701FC31E1A1}"/>
          </ac:spMkLst>
        </pc:spChg>
        <pc:spChg chg="del">
          <ac:chgData name="Fernando Enrique Nuñez Zapata" userId="4887fb29-3871-42a7-b0aa-ea8d45a5c181" providerId="ADAL" clId="{C49C2598-DE4D-4CD0-A197-C1971AACDF4C}" dt="2024-09-17T15:37:49.516" v="1448" actId="478"/>
          <ac:spMkLst>
            <pc:docMk/>
            <pc:sldMk cId="2550942231" sldId="2147310035"/>
            <ac:spMk id="144" creationId="{A3D54B4A-7BAA-CEBA-55FF-DDB54A7FFF74}"/>
          </ac:spMkLst>
        </pc:spChg>
        <pc:spChg chg="mod">
          <ac:chgData name="Fernando Enrique Nuñez Zapata" userId="4887fb29-3871-42a7-b0aa-ea8d45a5c181" providerId="ADAL" clId="{C49C2598-DE4D-4CD0-A197-C1971AACDF4C}" dt="2024-09-17T15:38:12.305" v="1489" actId="1035"/>
          <ac:spMkLst>
            <pc:docMk/>
            <pc:sldMk cId="2550942231" sldId="2147310035"/>
            <ac:spMk id="146" creationId="{48966957-2461-FB8D-815A-0EBC034BEF3F}"/>
          </ac:spMkLst>
        </pc:spChg>
        <pc:grpChg chg="add mod">
          <ac:chgData name="Fernando Enrique Nuñez Zapata" userId="4887fb29-3871-42a7-b0aa-ea8d45a5c181" providerId="ADAL" clId="{C49C2598-DE4D-4CD0-A197-C1971AACDF4C}" dt="2024-09-17T15:42:11.026" v="1560" actId="1076"/>
          <ac:grpSpMkLst>
            <pc:docMk/>
            <pc:sldMk cId="2550942231" sldId="2147310035"/>
            <ac:grpSpMk id="12" creationId="{85410A62-34BF-4CD6-F750-A4F1BB30A2A9}"/>
          </ac:grpSpMkLst>
        </pc:grpChg>
        <pc:grpChg chg="del mod">
          <ac:chgData name="Fernando Enrique Nuñez Zapata" userId="4887fb29-3871-42a7-b0aa-ea8d45a5c181" providerId="ADAL" clId="{C49C2598-DE4D-4CD0-A197-C1971AACDF4C}" dt="2024-09-17T15:37:54.844" v="1449" actId="478"/>
          <ac:grpSpMkLst>
            <pc:docMk/>
            <pc:sldMk cId="2550942231" sldId="2147310035"/>
            <ac:grpSpMk id="19" creationId="{B63DE317-0B7F-07F3-02DC-C07F39DD420B}"/>
          </ac:grpSpMkLst>
        </pc:grpChg>
        <pc:grpChg chg="mod">
          <ac:chgData name="Fernando Enrique Nuñez Zapata" userId="4887fb29-3871-42a7-b0aa-ea8d45a5c181" providerId="ADAL" clId="{C49C2598-DE4D-4CD0-A197-C1971AACDF4C}" dt="2024-09-10T17:04:17.637" v="201" actId="1037"/>
          <ac:grpSpMkLst>
            <pc:docMk/>
            <pc:sldMk cId="2550942231" sldId="2147310035"/>
            <ac:grpSpMk id="56" creationId="{26C36EE6-18F1-C2AF-B99B-694EAD485BC0}"/>
          </ac:grpSpMkLst>
        </pc:grpChg>
        <pc:grpChg chg="del mod">
          <ac:chgData name="Fernando Enrique Nuñez Zapata" userId="4887fb29-3871-42a7-b0aa-ea8d45a5c181" providerId="ADAL" clId="{C49C2598-DE4D-4CD0-A197-C1971AACDF4C}" dt="2024-09-17T15:37:54.844" v="1449" actId="478"/>
          <ac:grpSpMkLst>
            <pc:docMk/>
            <pc:sldMk cId="2550942231" sldId="2147310035"/>
            <ac:grpSpMk id="111" creationId="{528DFC98-4198-10D5-8D8E-A5F6039611C8}"/>
          </ac:grpSpMkLst>
        </pc:grpChg>
        <pc:graphicFrameChg chg="del mod modGraphic">
          <ac:chgData name="Fernando Enrique Nuñez Zapata" userId="4887fb29-3871-42a7-b0aa-ea8d45a5c181" providerId="ADAL" clId="{C49C2598-DE4D-4CD0-A197-C1971AACDF4C}" dt="2024-09-17T15:56:43.471" v="1618" actId="478"/>
          <ac:graphicFrameMkLst>
            <pc:docMk/>
            <pc:sldMk cId="2550942231" sldId="2147310035"/>
            <ac:graphicFrameMk id="7" creationId="{C8D692CE-C361-E983-E9AF-4FAB4696FD79}"/>
          </ac:graphicFrameMkLst>
        </pc:graphicFrameChg>
        <pc:graphicFrameChg chg="add mod modGraphic">
          <ac:chgData name="Fernando Enrique Nuñez Zapata" userId="4887fb29-3871-42a7-b0aa-ea8d45a5c181" providerId="ADAL" clId="{C49C2598-DE4D-4CD0-A197-C1971AACDF4C}" dt="2024-09-17T16:06:30.086" v="2004" actId="20577"/>
          <ac:graphicFrameMkLst>
            <pc:docMk/>
            <pc:sldMk cId="2550942231" sldId="2147310035"/>
            <ac:graphicFrameMk id="10" creationId="{E3441E80-6F86-CB38-6DEB-0A7FCBD29EAD}"/>
          </ac:graphicFrameMkLst>
        </pc:graphicFrameChg>
        <pc:graphicFrameChg chg="add mod modGraphic">
          <ac:chgData name="Fernando Enrique Nuñez Zapata" userId="4887fb29-3871-42a7-b0aa-ea8d45a5c181" providerId="ADAL" clId="{C49C2598-DE4D-4CD0-A197-C1971AACDF4C}" dt="2024-09-18T21:40:10.496" v="2554" actId="572"/>
          <ac:graphicFrameMkLst>
            <pc:docMk/>
            <pc:sldMk cId="2550942231" sldId="2147310035"/>
            <ac:graphicFrameMk id="11" creationId="{9FBBC913-7D47-5917-CCFD-EAB015092D57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5:19:36.506" v="52" actId="20577"/>
          <ac:graphicFrameMkLst>
            <pc:docMk/>
            <pc:sldMk cId="2550942231" sldId="2147310035"/>
            <ac:graphicFrameMk id="49" creationId="{88FCF8A2-08D8-B125-B8AF-5C065C1F1ADF}"/>
          </ac:graphicFrameMkLst>
        </pc:graphicFrameChg>
        <pc:graphicFrameChg chg="del mod modGraphic">
          <ac:chgData name="Fernando Enrique Nuñez Zapata" userId="4887fb29-3871-42a7-b0aa-ea8d45a5c181" providerId="ADAL" clId="{C49C2598-DE4D-4CD0-A197-C1971AACDF4C}" dt="2024-09-17T15:37:44.253" v="1447" actId="478"/>
          <ac:graphicFrameMkLst>
            <pc:docMk/>
            <pc:sldMk cId="2550942231" sldId="2147310035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0T15:20:26.794" v="56" actId="2166"/>
          <ac:graphicFrameMkLst>
            <pc:docMk/>
            <pc:sldMk cId="2550942231" sldId="2147310035"/>
            <ac:graphicFrameMk id="72" creationId="{4A3A1DD2-0C93-56D8-AB9B-783B736DD38E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2:21:13.072" v="2812" actId="20577"/>
          <ac:graphicFrameMkLst>
            <pc:docMk/>
            <pc:sldMk cId="2550942231" sldId="2147310035"/>
            <ac:graphicFrameMk id="74" creationId="{87F77502-D64F-3351-7D83-382B7F6D8C9E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5:21:38.872" v="59" actId="2166"/>
          <ac:graphicFrameMkLst>
            <pc:docMk/>
            <pc:sldMk cId="2550942231" sldId="2147310035"/>
            <ac:graphicFrameMk id="76" creationId="{3125FE1B-2FDF-853D-752A-C7EBA35BC40E}"/>
          </ac:graphicFrameMkLst>
        </pc:graphicFrameChg>
        <pc:graphicFrameChg chg="add del mod modGraphic">
          <ac:chgData name="Fernando Enrique Nuñez Zapata" userId="4887fb29-3871-42a7-b0aa-ea8d45a5c181" providerId="ADAL" clId="{C49C2598-DE4D-4CD0-A197-C1971AACDF4C}" dt="2024-09-17T15:38:12.305" v="1489" actId="1035"/>
          <ac:graphicFrameMkLst>
            <pc:docMk/>
            <pc:sldMk cId="2550942231" sldId="2147310035"/>
            <ac:graphicFrameMk id="84" creationId="{0E4A6745-5BA5-C2F3-3FC1-BE781AD33559}"/>
          </ac:graphicFrameMkLst>
        </pc:graphicFrameChg>
        <pc:graphicFrameChg chg="del modGraphic">
          <ac:chgData name="Fernando Enrique Nuñez Zapata" userId="4887fb29-3871-42a7-b0aa-ea8d45a5c181" providerId="ADAL" clId="{C49C2598-DE4D-4CD0-A197-C1971AACDF4C}" dt="2024-09-17T15:37:49.516" v="1448" actId="478"/>
          <ac:graphicFrameMkLst>
            <pc:docMk/>
            <pc:sldMk cId="2550942231" sldId="2147310035"/>
            <ac:graphicFrameMk id="88" creationId="{AD4EB308-7E31-1D22-1686-947331237029}"/>
          </ac:graphicFrameMkLst>
        </pc:graphicFrameChg>
        <pc:graphicFrameChg chg="del modGraphic">
          <ac:chgData name="Fernando Enrique Nuñez Zapata" userId="4887fb29-3871-42a7-b0aa-ea8d45a5c181" providerId="ADAL" clId="{C49C2598-DE4D-4CD0-A197-C1971AACDF4C}" dt="2024-09-17T15:37:49.516" v="1448" actId="478"/>
          <ac:graphicFrameMkLst>
            <pc:docMk/>
            <pc:sldMk cId="2550942231" sldId="2147310035"/>
            <ac:graphicFrameMk id="110" creationId="{751A893B-CEB1-72E6-7813-28330BFF72D4}"/>
          </ac:graphicFrameMkLst>
        </pc:graphicFrameChg>
        <pc:cxnChg chg="mod">
          <ac:chgData name="Fernando Enrique Nuñez Zapata" userId="4887fb29-3871-42a7-b0aa-ea8d45a5c181" providerId="ADAL" clId="{C49C2598-DE4D-4CD0-A197-C1971AACDF4C}" dt="2024-09-17T15:42:15.684" v="1561" actId="14100"/>
          <ac:cxnSpMkLst>
            <pc:docMk/>
            <pc:sldMk cId="2550942231" sldId="2147310035"/>
            <ac:cxnSpMk id="17" creationId="{695DFE15-E775-7523-426E-19C2F80E4B38}"/>
          </ac:cxnSpMkLst>
        </pc:cxnChg>
        <pc:cxnChg chg="mod">
          <ac:chgData name="Fernando Enrique Nuñez Zapata" userId="4887fb29-3871-42a7-b0aa-ea8d45a5c181" providerId="ADAL" clId="{C49C2598-DE4D-4CD0-A197-C1971AACDF4C}" dt="2024-09-18T21:43:34.198" v="2567" actId="14100"/>
          <ac:cxnSpMkLst>
            <pc:docMk/>
            <pc:sldMk cId="2550942231" sldId="2147310035"/>
            <ac:cxnSpMk id="24" creationId="{49B81983-0551-DCB1-833E-E584880D3777}"/>
          </ac:cxnSpMkLst>
        </pc:cxnChg>
        <pc:cxnChg chg="mod">
          <ac:chgData name="Fernando Enrique Nuñez Zapata" userId="4887fb29-3871-42a7-b0aa-ea8d45a5c181" providerId="ADAL" clId="{C49C2598-DE4D-4CD0-A197-C1971AACDF4C}" dt="2024-09-17T15:42:04.394" v="1559"/>
          <ac:cxnSpMkLst>
            <pc:docMk/>
            <pc:sldMk cId="2550942231" sldId="2147310035"/>
            <ac:cxnSpMk id="25" creationId="{395A71BA-3BF3-742A-7E16-4AE3FED99015}"/>
          </ac:cxnSpMkLst>
        </pc:cxnChg>
        <pc:cxnChg chg="del mod">
          <ac:chgData name="Fernando Enrique Nuñez Zapata" userId="4887fb29-3871-42a7-b0aa-ea8d45a5c181" providerId="ADAL" clId="{C49C2598-DE4D-4CD0-A197-C1971AACDF4C}" dt="2024-09-17T15:37:49.516" v="1448" actId="478"/>
          <ac:cxnSpMkLst>
            <pc:docMk/>
            <pc:sldMk cId="2550942231" sldId="2147310035"/>
            <ac:cxnSpMk id="51" creationId="{C206E334-3B8E-C988-A1A2-955D965AC5FD}"/>
          </ac:cxnSpMkLst>
        </pc:cxnChg>
      </pc:sldChg>
      <pc:sldChg chg="addSp delSp modSp add mod addAnim delAnim">
        <pc:chgData name="Fernando Enrique Nuñez Zapata" userId="4887fb29-3871-42a7-b0aa-ea8d45a5c181" providerId="ADAL" clId="{C49C2598-DE4D-4CD0-A197-C1971AACDF4C}" dt="2024-09-18T22:22:21.801" v="2832" actId="20577"/>
        <pc:sldMkLst>
          <pc:docMk/>
          <pc:sldMk cId="1702709493" sldId="2147310036"/>
        </pc:sldMkLst>
        <pc:spChg chg="mod">
          <ac:chgData name="Fernando Enrique Nuñez Zapata" userId="4887fb29-3871-42a7-b0aa-ea8d45a5c181" providerId="ADAL" clId="{C49C2598-DE4D-4CD0-A197-C1971AACDF4C}" dt="2024-09-10T17:17:25.498" v="258" actId="552"/>
          <ac:spMkLst>
            <pc:docMk/>
            <pc:sldMk cId="1702709493" sldId="2147310036"/>
            <ac:spMk id="14" creationId="{24735855-76B0-222C-B373-73B9B1BD1713}"/>
          </ac:spMkLst>
        </pc:spChg>
        <pc:spChg chg="add del">
          <ac:chgData name="Fernando Enrique Nuñez Zapata" userId="4887fb29-3871-42a7-b0aa-ea8d45a5c181" providerId="ADAL" clId="{C49C2598-DE4D-4CD0-A197-C1971AACDF4C}" dt="2024-09-10T17:07:13.011" v="209" actId="478"/>
          <ac:spMkLst>
            <pc:docMk/>
            <pc:sldMk cId="1702709493" sldId="2147310036"/>
            <ac:spMk id="23" creationId="{E0FF47B1-8469-1EE9-5512-8348A6530BFB}"/>
          </ac:spMkLst>
        </pc:spChg>
        <pc:spChg chg="mod">
          <ac:chgData name="Fernando Enrique Nuñez Zapata" userId="4887fb29-3871-42a7-b0aa-ea8d45a5c181" providerId="ADAL" clId="{C49C2598-DE4D-4CD0-A197-C1971AACDF4C}" dt="2024-09-10T17:17:25.498" v="258" actId="552"/>
          <ac:spMkLst>
            <pc:docMk/>
            <pc:sldMk cId="1702709493" sldId="2147310036"/>
            <ac:spMk id="25" creationId="{FE45BCE1-B1AA-3086-66A1-D2D89B0B26ED}"/>
          </ac:spMkLst>
        </pc:spChg>
        <pc:spChg chg="mod">
          <ac:chgData name="Fernando Enrique Nuñez Zapata" userId="4887fb29-3871-42a7-b0aa-ea8d45a5c181" providerId="ADAL" clId="{C49C2598-DE4D-4CD0-A197-C1971AACDF4C}" dt="2024-09-10T17:17:25.498" v="258" actId="552"/>
          <ac:spMkLst>
            <pc:docMk/>
            <pc:sldMk cId="1702709493" sldId="2147310036"/>
            <ac:spMk id="26" creationId="{5A5B5497-8CBB-0B50-9E25-C2C75F247C25}"/>
          </ac:spMkLst>
        </pc:spChg>
        <pc:spChg chg="mod">
          <ac:chgData name="Fernando Enrique Nuñez Zapata" userId="4887fb29-3871-42a7-b0aa-ea8d45a5c181" providerId="ADAL" clId="{C49C2598-DE4D-4CD0-A197-C1971AACDF4C}" dt="2024-09-10T17:17:25.498" v="258" actId="552"/>
          <ac:spMkLst>
            <pc:docMk/>
            <pc:sldMk cId="1702709493" sldId="2147310036"/>
            <ac:spMk id="28" creationId="{CB99EBFC-45D5-1736-1D06-E269E4C4FFFE}"/>
          </ac:spMkLst>
        </pc:spChg>
        <pc:spChg chg="mod">
          <ac:chgData name="Fernando Enrique Nuñez Zapata" userId="4887fb29-3871-42a7-b0aa-ea8d45a5c181" providerId="ADAL" clId="{C49C2598-DE4D-4CD0-A197-C1971AACDF4C}" dt="2024-09-10T17:17:25.498" v="258" actId="552"/>
          <ac:spMkLst>
            <pc:docMk/>
            <pc:sldMk cId="1702709493" sldId="2147310036"/>
            <ac:spMk id="29" creationId="{905622FA-7727-12D4-F30E-1150DB3919F2}"/>
          </ac:spMkLst>
        </pc:spChg>
        <pc:spChg chg="mod">
          <ac:chgData name="Fernando Enrique Nuñez Zapata" userId="4887fb29-3871-42a7-b0aa-ea8d45a5c181" providerId="ADAL" clId="{C49C2598-DE4D-4CD0-A197-C1971AACDF4C}" dt="2024-09-10T17:17:25.498" v="258" actId="552"/>
          <ac:spMkLst>
            <pc:docMk/>
            <pc:sldMk cId="1702709493" sldId="2147310036"/>
            <ac:spMk id="30" creationId="{F2C6A1C6-BD3C-9A30-7C5C-002AF9E406D5}"/>
          </ac:spMkLst>
        </pc:spChg>
        <pc:spChg chg="mod">
          <ac:chgData name="Fernando Enrique Nuñez Zapata" userId="4887fb29-3871-42a7-b0aa-ea8d45a5c181" providerId="ADAL" clId="{C49C2598-DE4D-4CD0-A197-C1971AACDF4C}" dt="2024-09-10T17:17:25.498" v="258" actId="552"/>
          <ac:spMkLst>
            <pc:docMk/>
            <pc:sldMk cId="1702709493" sldId="2147310036"/>
            <ac:spMk id="31" creationId="{0A508DAD-578A-F288-1ED1-04264555791F}"/>
          </ac:spMkLst>
        </pc:spChg>
        <pc:spChg chg="mod">
          <ac:chgData name="Fernando Enrique Nuñez Zapata" userId="4887fb29-3871-42a7-b0aa-ea8d45a5c181" providerId="ADAL" clId="{C49C2598-DE4D-4CD0-A197-C1971AACDF4C}" dt="2024-09-10T17:17:52.446" v="262" actId="1037"/>
          <ac:spMkLst>
            <pc:docMk/>
            <pc:sldMk cId="1702709493" sldId="2147310036"/>
            <ac:spMk id="32" creationId="{1197E25B-6D3A-FEEF-63FC-F93F5DAC662D}"/>
          </ac:spMkLst>
        </pc:spChg>
        <pc:spChg chg="mod">
          <ac:chgData name="Fernando Enrique Nuñez Zapata" userId="4887fb29-3871-42a7-b0aa-ea8d45a5c181" providerId="ADAL" clId="{C49C2598-DE4D-4CD0-A197-C1971AACDF4C}" dt="2024-09-10T17:17:52.446" v="262" actId="1037"/>
          <ac:spMkLst>
            <pc:docMk/>
            <pc:sldMk cId="1702709493" sldId="2147310036"/>
            <ac:spMk id="33" creationId="{F090D38F-BBF0-7EC9-348C-458590DFAD1C}"/>
          </ac:spMkLst>
        </pc:spChg>
        <pc:spChg chg="mod">
          <ac:chgData name="Fernando Enrique Nuñez Zapata" userId="4887fb29-3871-42a7-b0aa-ea8d45a5c181" providerId="ADAL" clId="{C49C2598-DE4D-4CD0-A197-C1971AACDF4C}" dt="2024-09-10T17:17:52.446" v="262" actId="1037"/>
          <ac:spMkLst>
            <pc:docMk/>
            <pc:sldMk cId="1702709493" sldId="2147310036"/>
            <ac:spMk id="34" creationId="{D7B66142-E2A1-EFAB-C235-CC17401A26AB}"/>
          </ac:spMkLst>
        </pc:spChg>
        <pc:spChg chg="mod">
          <ac:chgData name="Fernando Enrique Nuñez Zapata" userId="4887fb29-3871-42a7-b0aa-ea8d45a5c181" providerId="ADAL" clId="{C49C2598-DE4D-4CD0-A197-C1971AACDF4C}" dt="2024-09-10T17:17:52.446" v="262" actId="1037"/>
          <ac:spMkLst>
            <pc:docMk/>
            <pc:sldMk cId="1702709493" sldId="2147310036"/>
            <ac:spMk id="35" creationId="{3975D2F2-F083-430C-348A-F55C5437C1D2}"/>
          </ac:spMkLst>
        </pc:spChg>
        <pc:spChg chg="del">
          <ac:chgData name="Fernando Enrique Nuñez Zapata" userId="4887fb29-3871-42a7-b0aa-ea8d45a5c181" providerId="ADAL" clId="{C49C2598-DE4D-4CD0-A197-C1971AACDF4C}" dt="2024-09-10T17:12:37.945" v="245" actId="478"/>
          <ac:spMkLst>
            <pc:docMk/>
            <pc:sldMk cId="1702709493" sldId="2147310036"/>
            <ac:spMk id="36" creationId="{74D7035F-4EC5-F114-DB03-4AE194AFC1E6}"/>
          </ac:spMkLst>
        </pc:spChg>
        <pc:spChg chg="del">
          <ac:chgData name="Fernando Enrique Nuñez Zapata" userId="4887fb29-3871-42a7-b0aa-ea8d45a5c181" providerId="ADAL" clId="{C49C2598-DE4D-4CD0-A197-C1971AACDF4C}" dt="2024-09-10T17:12:59.084" v="248" actId="478"/>
          <ac:spMkLst>
            <pc:docMk/>
            <pc:sldMk cId="1702709493" sldId="2147310036"/>
            <ac:spMk id="38" creationId="{E403EC08-89E4-1251-490B-836CF686999D}"/>
          </ac:spMkLst>
        </pc:spChg>
        <pc:spChg chg="del">
          <ac:chgData name="Fernando Enrique Nuñez Zapata" userId="4887fb29-3871-42a7-b0aa-ea8d45a5c181" providerId="ADAL" clId="{C49C2598-DE4D-4CD0-A197-C1971AACDF4C}" dt="2024-09-10T17:12:59.084" v="248" actId="478"/>
          <ac:spMkLst>
            <pc:docMk/>
            <pc:sldMk cId="1702709493" sldId="2147310036"/>
            <ac:spMk id="39" creationId="{77874828-55E2-B34F-4BD4-6717E67E6C1F}"/>
          </ac:spMkLst>
        </pc:spChg>
        <pc:spChg chg="del">
          <ac:chgData name="Fernando Enrique Nuñez Zapata" userId="4887fb29-3871-42a7-b0aa-ea8d45a5c181" providerId="ADAL" clId="{C49C2598-DE4D-4CD0-A197-C1971AACDF4C}" dt="2024-09-10T17:12:59.084" v="248" actId="478"/>
          <ac:spMkLst>
            <pc:docMk/>
            <pc:sldMk cId="1702709493" sldId="2147310036"/>
            <ac:spMk id="40" creationId="{FE4628A3-4C6E-91EF-08E1-B52D41B63994}"/>
          </ac:spMkLst>
        </pc:spChg>
        <pc:spChg chg="del">
          <ac:chgData name="Fernando Enrique Nuñez Zapata" userId="4887fb29-3871-42a7-b0aa-ea8d45a5c181" providerId="ADAL" clId="{C49C2598-DE4D-4CD0-A197-C1971AACDF4C}" dt="2024-09-10T17:14:00.636" v="251" actId="478"/>
          <ac:spMkLst>
            <pc:docMk/>
            <pc:sldMk cId="1702709493" sldId="2147310036"/>
            <ac:spMk id="41" creationId="{E5B6D509-8378-1FDB-1DAC-8EE95CFE69B9}"/>
          </ac:spMkLst>
        </pc:spChg>
        <pc:spChg chg="del">
          <ac:chgData name="Fernando Enrique Nuñez Zapata" userId="4887fb29-3871-42a7-b0aa-ea8d45a5c181" providerId="ADAL" clId="{C49C2598-DE4D-4CD0-A197-C1971AACDF4C}" dt="2024-09-10T17:14:00.636" v="251" actId="478"/>
          <ac:spMkLst>
            <pc:docMk/>
            <pc:sldMk cId="1702709493" sldId="2147310036"/>
            <ac:spMk id="42" creationId="{FA630256-908A-47A7-0B3C-CC5CCD7CE89B}"/>
          </ac:spMkLst>
        </pc:spChg>
        <pc:spChg chg="del">
          <ac:chgData name="Fernando Enrique Nuñez Zapata" userId="4887fb29-3871-42a7-b0aa-ea8d45a5c181" providerId="ADAL" clId="{C49C2598-DE4D-4CD0-A197-C1971AACDF4C}" dt="2024-09-10T17:14:00.636" v="251" actId="478"/>
          <ac:spMkLst>
            <pc:docMk/>
            <pc:sldMk cId="1702709493" sldId="2147310036"/>
            <ac:spMk id="43" creationId="{3B15B858-C1A5-1793-CA78-0DE879D9C6EF}"/>
          </ac:spMkLst>
        </pc:spChg>
        <pc:spChg chg="del">
          <ac:chgData name="Fernando Enrique Nuñez Zapata" userId="4887fb29-3871-42a7-b0aa-ea8d45a5c181" providerId="ADAL" clId="{C49C2598-DE4D-4CD0-A197-C1971AACDF4C}" dt="2024-09-10T17:14:00.636" v="251" actId="478"/>
          <ac:spMkLst>
            <pc:docMk/>
            <pc:sldMk cId="1702709493" sldId="2147310036"/>
            <ac:spMk id="44" creationId="{1D90AD2E-9744-3EB5-8624-727926E869C4}"/>
          </ac:spMkLst>
        </pc:spChg>
        <pc:spChg chg="del">
          <ac:chgData name="Fernando Enrique Nuñez Zapata" userId="4887fb29-3871-42a7-b0aa-ea8d45a5c181" providerId="ADAL" clId="{C49C2598-DE4D-4CD0-A197-C1971AACDF4C}" dt="2024-09-10T17:16:46.876" v="257" actId="478"/>
          <ac:spMkLst>
            <pc:docMk/>
            <pc:sldMk cId="1702709493" sldId="2147310036"/>
            <ac:spMk id="45" creationId="{5674DF94-190F-FDEF-9F40-EE89AC9ABEAE}"/>
          </ac:spMkLst>
        </pc:spChg>
        <pc:spChg chg="add del">
          <ac:chgData name="Fernando Enrique Nuñez Zapata" userId="4887fb29-3871-42a7-b0aa-ea8d45a5c181" providerId="ADAL" clId="{C49C2598-DE4D-4CD0-A197-C1971AACDF4C}" dt="2024-09-10T17:07:13.011" v="209" actId="478"/>
          <ac:spMkLst>
            <pc:docMk/>
            <pc:sldMk cId="1702709493" sldId="2147310036"/>
            <ac:spMk id="47" creationId="{D864349B-A24E-E590-7F85-D2322F43A251}"/>
          </ac:spMkLst>
        </pc:spChg>
        <pc:spChg chg="mod">
          <ac:chgData name="Fernando Enrique Nuñez Zapata" userId="4887fb29-3871-42a7-b0aa-ea8d45a5c181" providerId="ADAL" clId="{C49C2598-DE4D-4CD0-A197-C1971AACDF4C}" dt="2024-09-18T21:24:12.911" v="2404" actId="108"/>
          <ac:spMkLst>
            <pc:docMk/>
            <pc:sldMk cId="1702709493" sldId="2147310036"/>
            <ac:spMk id="57" creationId="{4532FAF8-B96F-0731-BC66-4E3DB911091F}"/>
          </ac:spMkLst>
        </pc:spChg>
        <pc:spChg chg="add del">
          <ac:chgData name="Fernando Enrique Nuñez Zapata" userId="4887fb29-3871-42a7-b0aa-ea8d45a5c181" providerId="ADAL" clId="{C49C2598-DE4D-4CD0-A197-C1971AACDF4C}" dt="2024-09-10T17:07:13.011" v="209" actId="478"/>
          <ac:spMkLst>
            <pc:docMk/>
            <pc:sldMk cId="1702709493" sldId="2147310036"/>
            <ac:spMk id="59" creationId="{D9BE4A94-9E97-702C-69ED-0318C72C47ED}"/>
          </ac:spMkLst>
        </pc:spChg>
        <pc:spChg chg="mod">
          <ac:chgData name="Fernando Enrique Nuñez Zapata" userId="4887fb29-3871-42a7-b0aa-ea8d45a5c181" providerId="ADAL" clId="{C49C2598-DE4D-4CD0-A197-C1971AACDF4C}" dt="2024-09-10T17:09:48.492" v="239" actId="108"/>
          <ac:spMkLst>
            <pc:docMk/>
            <pc:sldMk cId="1702709493" sldId="2147310036"/>
            <ac:spMk id="80" creationId="{7989B36A-C8EB-50DF-A4C3-B714A22B17C1}"/>
          </ac:spMkLst>
        </pc:spChg>
        <pc:spChg chg="mod">
          <ac:chgData name="Fernando Enrique Nuñez Zapata" userId="4887fb29-3871-42a7-b0aa-ea8d45a5c181" providerId="ADAL" clId="{C49C2598-DE4D-4CD0-A197-C1971AACDF4C}" dt="2024-09-10T17:09:52.470" v="240" actId="108"/>
          <ac:spMkLst>
            <pc:docMk/>
            <pc:sldMk cId="1702709493" sldId="2147310036"/>
            <ac:spMk id="93" creationId="{6CCBB38C-571E-AC5E-A72C-C05D2551AA76}"/>
          </ac:spMkLst>
        </pc:spChg>
        <pc:spChg chg="mod">
          <ac:chgData name="Fernando Enrique Nuñez Zapata" userId="4887fb29-3871-42a7-b0aa-ea8d45a5c181" providerId="ADAL" clId="{C49C2598-DE4D-4CD0-A197-C1971AACDF4C}" dt="2024-09-10T17:12:41.995" v="246" actId="108"/>
          <ac:spMkLst>
            <pc:docMk/>
            <pc:sldMk cId="1702709493" sldId="2147310036"/>
            <ac:spMk id="98" creationId="{4932FA58-C1D0-EDEA-A242-29DA6FAA3FD6}"/>
          </ac:spMkLst>
        </pc:spChg>
        <pc:spChg chg="mod">
          <ac:chgData name="Fernando Enrique Nuñez Zapata" userId="4887fb29-3871-42a7-b0aa-ea8d45a5c181" providerId="ADAL" clId="{C49C2598-DE4D-4CD0-A197-C1971AACDF4C}" dt="2024-09-10T17:13:06.568" v="249" actId="108"/>
          <ac:spMkLst>
            <pc:docMk/>
            <pc:sldMk cId="1702709493" sldId="2147310036"/>
            <ac:spMk id="104" creationId="{C1FF3411-6CE7-F68D-E6E4-79493185DBC3}"/>
          </ac:spMkLst>
        </pc:spChg>
        <pc:spChg chg="mod">
          <ac:chgData name="Fernando Enrique Nuñez Zapata" userId="4887fb29-3871-42a7-b0aa-ea8d45a5c181" providerId="ADAL" clId="{C49C2598-DE4D-4CD0-A197-C1971AACDF4C}" dt="2024-09-10T17:12:00.361" v="241" actId="108"/>
          <ac:spMkLst>
            <pc:docMk/>
            <pc:sldMk cId="1702709493" sldId="2147310036"/>
            <ac:spMk id="111" creationId="{CCAA93CF-C42C-3580-9714-8C1A88C76598}"/>
          </ac:spMkLst>
        </pc:spChg>
        <pc:spChg chg="mod">
          <ac:chgData name="Fernando Enrique Nuñez Zapata" userId="4887fb29-3871-42a7-b0aa-ea8d45a5c181" providerId="ADAL" clId="{C49C2598-DE4D-4CD0-A197-C1971AACDF4C}" dt="2024-09-10T17:18:42.625" v="272" actId="1038"/>
          <ac:spMkLst>
            <pc:docMk/>
            <pc:sldMk cId="1702709493" sldId="2147310036"/>
            <ac:spMk id="122" creationId="{E89104C0-8DA9-4B6B-FD46-93C7B6A79F2B}"/>
          </ac:spMkLst>
        </pc:spChg>
        <pc:spChg chg="mod">
          <ac:chgData name="Fernando Enrique Nuñez Zapata" userId="4887fb29-3871-42a7-b0aa-ea8d45a5c181" providerId="ADAL" clId="{C49C2598-DE4D-4CD0-A197-C1971AACDF4C}" dt="2024-09-10T17:18:59.662" v="276" actId="1038"/>
          <ac:spMkLst>
            <pc:docMk/>
            <pc:sldMk cId="1702709493" sldId="2147310036"/>
            <ac:spMk id="123" creationId="{CB7A4622-3CE5-21EB-3C60-EA93803A11D5}"/>
          </ac:spMkLst>
        </pc:spChg>
        <pc:spChg chg="mod">
          <ac:chgData name="Fernando Enrique Nuñez Zapata" userId="4887fb29-3871-42a7-b0aa-ea8d45a5c181" providerId="ADAL" clId="{C49C2598-DE4D-4CD0-A197-C1971AACDF4C}" dt="2024-09-10T17:18:08.114" v="268" actId="1037"/>
          <ac:spMkLst>
            <pc:docMk/>
            <pc:sldMk cId="1702709493" sldId="2147310036"/>
            <ac:spMk id="124" creationId="{1D524A31-F741-B77C-D591-30714EAA67B9}"/>
          </ac:spMkLst>
        </pc:spChg>
        <pc:spChg chg="mod">
          <ac:chgData name="Fernando Enrique Nuñez Zapata" userId="4887fb29-3871-42a7-b0aa-ea8d45a5c181" providerId="ADAL" clId="{C49C2598-DE4D-4CD0-A197-C1971AACDF4C}" dt="2024-09-10T17:18:42.625" v="272" actId="1038"/>
          <ac:spMkLst>
            <pc:docMk/>
            <pc:sldMk cId="1702709493" sldId="2147310036"/>
            <ac:spMk id="125" creationId="{96BA60BA-11F0-FAD2-8AE5-6229FC2528A6}"/>
          </ac:spMkLst>
        </pc:spChg>
        <pc:spChg chg="mod">
          <ac:chgData name="Fernando Enrique Nuñez Zapata" userId="4887fb29-3871-42a7-b0aa-ea8d45a5c181" providerId="ADAL" clId="{C49C2598-DE4D-4CD0-A197-C1971AACDF4C}" dt="2024-09-10T17:18:59.662" v="276" actId="1038"/>
          <ac:spMkLst>
            <pc:docMk/>
            <pc:sldMk cId="1702709493" sldId="2147310036"/>
            <ac:spMk id="126" creationId="{33DDF545-5E9C-E071-90EF-E71F24F11E42}"/>
          </ac:spMkLst>
        </pc:spChg>
        <pc:spChg chg="mod">
          <ac:chgData name="Fernando Enrique Nuñez Zapata" userId="4887fb29-3871-42a7-b0aa-ea8d45a5c181" providerId="ADAL" clId="{C49C2598-DE4D-4CD0-A197-C1971AACDF4C}" dt="2024-09-10T17:18:08.114" v="268" actId="1037"/>
          <ac:spMkLst>
            <pc:docMk/>
            <pc:sldMk cId="1702709493" sldId="2147310036"/>
            <ac:spMk id="127" creationId="{F30A896D-63A8-80B1-8106-D66D4B58FAFA}"/>
          </ac:spMkLst>
        </pc:spChg>
        <pc:spChg chg="mod">
          <ac:chgData name="Fernando Enrique Nuñez Zapata" userId="4887fb29-3871-42a7-b0aa-ea8d45a5c181" providerId="ADAL" clId="{C49C2598-DE4D-4CD0-A197-C1971AACDF4C}" dt="2024-09-10T17:18:42.625" v="272" actId="1038"/>
          <ac:spMkLst>
            <pc:docMk/>
            <pc:sldMk cId="1702709493" sldId="2147310036"/>
            <ac:spMk id="128" creationId="{BC3588B7-D4AD-7939-E8D5-DD8AFDF8B68F}"/>
          </ac:spMkLst>
        </pc:spChg>
        <pc:spChg chg="mod">
          <ac:chgData name="Fernando Enrique Nuñez Zapata" userId="4887fb29-3871-42a7-b0aa-ea8d45a5c181" providerId="ADAL" clId="{C49C2598-DE4D-4CD0-A197-C1971AACDF4C}" dt="2024-09-10T17:18:59.662" v="276" actId="1038"/>
          <ac:spMkLst>
            <pc:docMk/>
            <pc:sldMk cId="1702709493" sldId="2147310036"/>
            <ac:spMk id="129" creationId="{79172AFB-947D-2F14-FD80-D3BD378274F0}"/>
          </ac:spMkLst>
        </pc:spChg>
        <pc:spChg chg="mod">
          <ac:chgData name="Fernando Enrique Nuñez Zapata" userId="4887fb29-3871-42a7-b0aa-ea8d45a5c181" providerId="ADAL" clId="{C49C2598-DE4D-4CD0-A197-C1971AACDF4C}" dt="2024-09-10T17:18:08.114" v="268" actId="1037"/>
          <ac:spMkLst>
            <pc:docMk/>
            <pc:sldMk cId="1702709493" sldId="2147310036"/>
            <ac:spMk id="130" creationId="{7D468A50-A4D3-301B-F6F1-9103304AD106}"/>
          </ac:spMkLst>
        </pc:spChg>
        <pc:spChg chg="mod">
          <ac:chgData name="Fernando Enrique Nuñez Zapata" userId="4887fb29-3871-42a7-b0aa-ea8d45a5c181" providerId="ADAL" clId="{C49C2598-DE4D-4CD0-A197-C1971AACDF4C}" dt="2024-09-10T17:18:42.625" v="272" actId="1038"/>
          <ac:spMkLst>
            <pc:docMk/>
            <pc:sldMk cId="1702709493" sldId="2147310036"/>
            <ac:spMk id="131" creationId="{F3D95B27-0A00-C45E-6487-1DF2D19C2813}"/>
          </ac:spMkLst>
        </pc:spChg>
        <pc:spChg chg="mod">
          <ac:chgData name="Fernando Enrique Nuñez Zapata" userId="4887fb29-3871-42a7-b0aa-ea8d45a5c181" providerId="ADAL" clId="{C49C2598-DE4D-4CD0-A197-C1971AACDF4C}" dt="2024-09-10T17:18:59.662" v="276" actId="1038"/>
          <ac:spMkLst>
            <pc:docMk/>
            <pc:sldMk cId="1702709493" sldId="2147310036"/>
            <ac:spMk id="132" creationId="{F7EF4ACC-6BA8-3797-7CD7-EE5E4E4B1231}"/>
          </ac:spMkLst>
        </pc:spChg>
        <pc:spChg chg="mod">
          <ac:chgData name="Fernando Enrique Nuñez Zapata" userId="4887fb29-3871-42a7-b0aa-ea8d45a5c181" providerId="ADAL" clId="{C49C2598-DE4D-4CD0-A197-C1971AACDF4C}" dt="2024-09-10T17:18:08.114" v="268" actId="1037"/>
          <ac:spMkLst>
            <pc:docMk/>
            <pc:sldMk cId="1702709493" sldId="2147310036"/>
            <ac:spMk id="133" creationId="{22C73346-2927-85C3-6FB4-3AC4D36D8E95}"/>
          </ac:spMkLst>
        </pc:spChg>
        <pc:spChg chg="mod">
          <ac:chgData name="Fernando Enrique Nuñez Zapata" userId="4887fb29-3871-42a7-b0aa-ea8d45a5c181" providerId="ADAL" clId="{C49C2598-DE4D-4CD0-A197-C1971AACDF4C}" dt="2024-09-10T17:12:11.874" v="242" actId="108"/>
          <ac:spMkLst>
            <pc:docMk/>
            <pc:sldMk cId="1702709493" sldId="2147310036"/>
            <ac:spMk id="134" creationId="{AE0553DC-195D-83C4-6EB5-E3CF217C162B}"/>
          </ac:spMkLst>
        </pc:spChg>
        <pc:spChg chg="mod">
          <ac:chgData name="Fernando Enrique Nuñez Zapata" userId="4887fb29-3871-42a7-b0aa-ea8d45a5c181" providerId="ADAL" clId="{C49C2598-DE4D-4CD0-A197-C1971AACDF4C}" dt="2024-09-10T17:17:59.508" v="266" actId="1037"/>
          <ac:spMkLst>
            <pc:docMk/>
            <pc:sldMk cId="1702709493" sldId="2147310036"/>
            <ac:spMk id="140" creationId="{4F068F3F-9E76-66BA-4846-4E6B85B8F246}"/>
          </ac:spMkLst>
        </pc:spChg>
        <pc:spChg chg="mod">
          <ac:chgData name="Fernando Enrique Nuñez Zapata" userId="4887fb29-3871-42a7-b0aa-ea8d45a5c181" providerId="ADAL" clId="{C49C2598-DE4D-4CD0-A197-C1971AACDF4C}" dt="2024-09-10T17:17:59.508" v="266" actId="1037"/>
          <ac:spMkLst>
            <pc:docMk/>
            <pc:sldMk cId="1702709493" sldId="2147310036"/>
            <ac:spMk id="141" creationId="{B6490465-2A9C-18DE-2555-F583944DD3F1}"/>
          </ac:spMkLst>
        </pc:spChg>
        <pc:spChg chg="mod">
          <ac:chgData name="Fernando Enrique Nuñez Zapata" userId="4887fb29-3871-42a7-b0aa-ea8d45a5c181" providerId="ADAL" clId="{C49C2598-DE4D-4CD0-A197-C1971AACDF4C}" dt="2024-09-10T17:17:59.508" v="266" actId="1037"/>
          <ac:spMkLst>
            <pc:docMk/>
            <pc:sldMk cId="1702709493" sldId="2147310036"/>
            <ac:spMk id="142" creationId="{1B55DD7C-5AE9-8502-56F1-D6CE08459CCE}"/>
          </ac:spMkLst>
        </pc:spChg>
        <pc:spChg chg="mod">
          <ac:chgData name="Fernando Enrique Nuñez Zapata" userId="4887fb29-3871-42a7-b0aa-ea8d45a5c181" providerId="ADAL" clId="{C49C2598-DE4D-4CD0-A197-C1971AACDF4C}" dt="2024-09-10T17:17:59.508" v="266" actId="1037"/>
          <ac:spMkLst>
            <pc:docMk/>
            <pc:sldMk cId="1702709493" sldId="2147310036"/>
            <ac:spMk id="143" creationId="{5AE89221-AC48-6439-BB19-2A72F96FC45F}"/>
          </ac:spMkLst>
        </pc:spChg>
        <pc:spChg chg="del">
          <ac:chgData name="Fernando Enrique Nuñez Zapata" userId="4887fb29-3871-42a7-b0aa-ea8d45a5c181" providerId="ADAL" clId="{C49C2598-DE4D-4CD0-A197-C1971AACDF4C}" dt="2024-09-10T17:14:00.636" v="251" actId="478"/>
          <ac:spMkLst>
            <pc:docMk/>
            <pc:sldMk cId="1702709493" sldId="2147310036"/>
            <ac:spMk id="156" creationId="{D56C7A1C-B27C-98C3-D060-D4633A64F3D9}"/>
          </ac:spMkLst>
        </pc:spChg>
        <pc:spChg chg="del">
          <ac:chgData name="Fernando Enrique Nuñez Zapata" userId="4887fb29-3871-42a7-b0aa-ea8d45a5c181" providerId="ADAL" clId="{C49C2598-DE4D-4CD0-A197-C1971AACDF4C}" dt="2024-09-10T17:14:00.636" v="251" actId="478"/>
          <ac:spMkLst>
            <pc:docMk/>
            <pc:sldMk cId="1702709493" sldId="2147310036"/>
            <ac:spMk id="158" creationId="{63921FC9-5E55-AAEC-83E1-F720E17C7852}"/>
          </ac:spMkLst>
        </pc:spChg>
        <pc:spChg chg="del">
          <ac:chgData name="Fernando Enrique Nuñez Zapata" userId="4887fb29-3871-42a7-b0aa-ea8d45a5c181" providerId="ADAL" clId="{C49C2598-DE4D-4CD0-A197-C1971AACDF4C}" dt="2024-09-10T17:14:00.636" v="251" actId="478"/>
          <ac:spMkLst>
            <pc:docMk/>
            <pc:sldMk cId="1702709493" sldId="2147310036"/>
            <ac:spMk id="159" creationId="{760A26AF-57B4-147B-CC52-56CC36B08E32}"/>
          </ac:spMkLst>
        </pc:spChg>
        <pc:spChg chg="add del">
          <ac:chgData name="Fernando Enrique Nuñez Zapata" userId="4887fb29-3871-42a7-b0aa-ea8d45a5c181" providerId="ADAL" clId="{C49C2598-DE4D-4CD0-A197-C1971AACDF4C}" dt="2024-09-10T17:07:13.011" v="209" actId="478"/>
          <ac:spMkLst>
            <pc:docMk/>
            <pc:sldMk cId="1702709493" sldId="2147310036"/>
            <ac:spMk id="160" creationId="{0CC4B046-8664-B8D7-02B1-230A1CA094C7}"/>
          </ac:spMkLst>
        </pc:spChg>
        <pc:spChg chg="add del">
          <ac:chgData name="Fernando Enrique Nuñez Zapata" userId="4887fb29-3871-42a7-b0aa-ea8d45a5c181" providerId="ADAL" clId="{C49C2598-DE4D-4CD0-A197-C1971AACDF4C}" dt="2024-09-10T17:07:13.011" v="209" actId="478"/>
          <ac:spMkLst>
            <pc:docMk/>
            <pc:sldMk cId="1702709493" sldId="2147310036"/>
            <ac:spMk id="161" creationId="{3EBD8443-4B0A-2FEA-FC5A-2BF936A200C9}"/>
          </ac:spMkLst>
        </pc:spChg>
        <pc:spChg chg="add del">
          <ac:chgData name="Fernando Enrique Nuñez Zapata" userId="4887fb29-3871-42a7-b0aa-ea8d45a5c181" providerId="ADAL" clId="{C49C2598-DE4D-4CD0-A197-C1971AACDF4C}" dt="2024-09-10T17:07:13.011" v="209" actId="478"/>
          <ac:spMkLst>
            <pc:docMk/>
            <pc:sldMk cId="1702709493" sldId="2147310036"/>
            <ac:spMk id="162" creationId="{76BFE603-BFB7-0C4D-5493-7A32F772C42E}"/>
          </ac:spMkLst>
        </pc:spChg>
        <pc:spChg chg="del">
          <ac:chgData name="Fernando Enrique Nuñez Zapata" userId="4887fb29-3871-42a7-b0aa-ea8d45a5c181" providerId="ADAL" clId="{C49C2598-DE4D-4CD0-A197-C1971AACDF4C}" dt="2024-09-10T17:12:37.945" v="245" actId="478"/>
          <ac:spMkLst>
            <pc:docMk/>
            <pc:sldMk cId="1702709493" sldId="2147310036"/>
            <ac:spMk id="163" creationId="{51438FA0-3AEC-0CDD-9358-2E0315969674}"/>
          </ac:spMkLst>
        </pc:spChg>
        <pc:spChg chg="del">
          <ac:chgData name="Fernando Enrique Nuñez Zapata" userId="4887fb29-3871-42a7-b0aa-ea8d45a5c181" providerId="ADAL" clId="{C49C2598-DE4D-4CD0-A197-C1971AACDF4C}" dt="2024-09-10T17:12:59.084" v="248" actId="478"/>
          <ac:spMkLst>
            <pc:docMk/>
            <pc:sldMk cId="1702709493" sldId="2147310036"/>
            <ac:spMk id="164" creationId="{3BE942CB-64FB-9C8B-73E6-262381A9F720}"/>
          </ac:spMkLst>
        </pc:spChg>
        <pc:spChg chg="del">
          <ac:chgData name="Fernando Enrique Nuñez Zapata" userId="4887fb29-3871-42a7-b0aa-ea8d45a5c181" providerId="ADAL" clId="{C49C2598-DE4D-4CD0-A197-C1971AACDF4C}" dt="2024-09-10T17:12:59.084" v="248" actId="478"/>
          <ac:spMkLst>
            <pc:docMk/>
            <pc:sldMk cId="1702709493" sldId="2147310036"/>
            <ac:spMk id="165" creationId="{8FC787CB-9DE7-8DBC-3645-FAEB8D15493B}"/>
          </ac:spMkLst>
        </pc:spChg>
        <pc:spChg chg="del">
          <ac:chgData name="Fernando Enrique Nuñez Zapata" userId="4887fb29-3871-42a7-b0aa-ea8d45a5c181" providerId="ADAL" clId="{C49C2598-DE4D-4CD0-A197-C1971AACDF4C}" dt="2024-09-10T17:12:59.084" v="248" actId="478"/>
          <ac:spMkLst>
            <pc:docMk/>
            <pc:sldMk cId="1702709493" sldId="2147310036"/>
            <ac:spMk id="166" creationId="{5C17BB7E-D67F-A985-307E-BEA2A105FC42}"/>
          </ac:spMkLst>
        </pc:spChg>
        <pc:spChg chg="del">
          <ac:chgData name="Fernando Enrique Nuñez Zapata" userId="4887fb29-3871-42a7-b0aa-ea8d45a5c181" providerId="ADAL" clId="{C49C2598-DE4D-4CD0-A197-C1971AACDF4C}" dt="2024-09-10T17:14:00.636" v="251" actId="478"/>
          <ac:spMkLst>
            <pc:docMk/>
            <pc:sldMk cId="1702709493" sldId="2147310036"/>
            <ac:spMk id="167" creationId="{9C46ADCC-111E-81F4-A5BB-44512D56DB54}"/>
          </ac:spMkLst>
        </pc:spChg>
        <pc:spChg chg="del">
          <ac:chgData name="Fernando Enrique Nuñez Zapata" userId="4887fb29-3871-42a7-b0aa-ea8d45a5c181" providerId="ADAL" clId="{C49C2598-DE4D-4CD0-A197-C1971AACDF4C}" dt="2024-09-10T17:16:46.876" v="257" actId="478"/>
          <ac:spMkLst>
            <pc:docMk/>
            <pc:sldMk cId="1702709493" sldId="2147310036"/>
            <ac:spMk id="168" creationId="{79539F87-9E64-FFEB-7CD0-AB12F7918D6F}"/>
          </ac:spMkLst>
        </pc:spChg>
        <pc:grpChg chg="mod">
          <ac:chgData name="Fernando Enrique Nuñez Zapata" userId="4887fb29-3871-42a7-b0aa-ea8d45a5c181" providerId="ADAL" clId="{C49C2598-DE4D-4CD0-A197-C1971AACDF4C}" dt="2024-09-10T17:19:37.177" v="293" actId="1037"/>
          <ac:grpSpMkLst>
            <pc:docMk/>
            <pc:sldMk cId="1702709493" sldId="2147310036"/>
            <ac:grpSpMk id="71" creationId="{FF7209EA-C8C0-A718-795F-D3F9E618D4F4}"/>
          </ac:grpSpMkLst>
        </pc:grpChg>
        <pc:graphicFrameChg chg="modGraphic">
          <ac:chgData name="Fernando Enrique Nuñez Zapata" userId="4887fb29-3871-42a7-b0aa-ea8d45a5c181" providerId="ADAL" clId="{C49C2598-DE4D-4CD0-A197-C1971AACDF4C}" dt="2024-09-10T17:07:55.143" v="238" actId="20577"/>
          <ac:graphicFrameMkLst>
            <pc:docMk/>
            <pc:sldMk cId="1702709493" sldId="2147310036"/>
            <ac:graphicFrameMk id="8" creationId="{269AA73C-52E3-A76D-1E91-03A77131E48B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2:14:07.527" v="2754" actId="20577"/>
          <ac:graphicFrameMkLst>
            <pc:docMk/>
            <pc:sldMk cId="1702709493" sldId="2147310036"/>
            <ac:graphicFrameMk id="61" creationId="{90C5294D-77B0-FF9C-479C-D0F35E605C3A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1:54:41.736" v="2615" actId="20577"/>
          <ac:graphicFrameMkLst>
            <pc:docMk/>
            <pc:sldMk cId="1702709493" sldId="2147310036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2:22:21.801" v="2832" actId="20577"/>
          <ac:graphicFrameMkLst>
            <pc:docMk/>
            <pc:sldMk cId="1702709493" sldId="2147310036"/>
            <ac:graphicFrameMk id="74" creationId="{87F77502-D64F-3351-7D83-382B7F6D8C9E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7:12:33.980" v="244" actId="2166"/>
          <ac:graphicFrameMkLst>
            <pc:docMk/>
            <pc:sldMk cId="1702709493" sldId="2147310036"/>
            <ac:graphicFrameMk id="96" creationId="{224917DE-B69A-F649-8CCF-3F273E2DFDDC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7:12:55.475" v="247" actId="2166"/>
          <ac:graphicFrameMkLst>
            <pc:docMk/>
            <pc:sldMk cId="1702709493" sldId="2147310036"/>
            <ac:graphicFrameMk id="99" creationId="{F80F6827-4F82-ED23-FE49-7A731F75170B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7:16:39.583" v="256" actId="2166"/>
          <ac:graphicFrameMkLst>
            <pc:docMk/>
            <pc:sldMk cId="1702709493" sldId="2147310036"/>
            <ac:graphicFrameMk id="107" creationId="{017A39C5-03EE-0BE9-0CC0-2447E9BD8116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7:19:16.155" v="277" actId="14100"/>
          <ac:graphicFrameMkLst>
            <pc:docMk/>
            <pc:sldMk cId="1702709493" sldId="2147310036"/>
            <ac:graphicFrameMk id="110" creationId="{9AACE07F-CD5C-FD7A-3F14-DE575D3AC3D1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7:13:54.742" v="250" actId="2166"/>
          <ac:graphicFrameMkLst>
            <pc:docMk/>
            <pc:sldMk cId="1702709493" sldId="2147310036"/>
            <ac:graphicFrameMk id="121" creationId="{F552A0A9-1624-93C4-9CF1-D68410798AB2}"/>
          </ac:graphicFrameMkLst>
        </pc:graphicFrameChg>
        <pc:cxnChg chg="mod">
          <ac:chgData name="Fernando Enrique Nuñez Zapata" userId="4887fb29-3871-42a7-b0aa-ea8d45a5c181" providerId="ADAL" clId="{C49C2598-DE4D-4CD0-A197-C1971AACDF4C}" dt="2024-09-10T17:19:37.177" v="293" actId="1037"/>
          <ac:cxnSpMkLst>
            <pc:docMk/>
            <pc:sldMk cId="1702709493" sldId="2147310036"/>
            <ac:cxnSpMk id="50" creationId="{AC2C4928-770F-4F0F-ED16-F4DA4132D4BB}"/>
          </ac:cxnSpMkLst>
        </pc:cxnChg>
        <pc:cxnChg chg="mod">
          <ac:chgData name="Fernando Enrique Nuñez Zapata" userId="4887fb29-3871-42a7-b0aa-ea8d45a5c181" providerId="ADAL" clId="{C49C2598-DE4D-4CD0-A197-C1971AACDF4C}" dt="2024-09-10T17:19:37.177" v="293" actId="1037"/>
          <ac:cxnSpMkLst>
            <pc:docMk/>
            <pc:sldMk cId="1702709493" sldId="2147310036"/>
            <ac:cxnSpMk id="51" creationId="{C206E334-3B8E-C988-A1A2-955D965AC5FD}"/>
          </ac:cxnSpMkLst>
        </pc:cxnChg>
      </pc:sldChg>
      <pc:sldChg chg="delSp modSp add mod delAnim">
        <pc:chgData name="Fernando Enrique Nuñez Zapata" userId="4887fb29-3871-42a7-b0aa-ea8d45a5c181" providerId="ADAL" clId="{C49C2598-DE4D-4CD0-A197-C1971AACDF4C}" dt="2024-09-18T22:23:10.643" v="2844" actId="20577"/>
        <pc:sldMkLst>
          <pc:docMk/>
          <pc:sldMk cId="20371015" sldId="2147310037"/>
        </pc:sldMkLst>
        <pc:spChg chg="del">
          <ac:chgData name="Fernando Enrique Nuñez Zapata" userId="4887fb29-3871-42a7-b0aa-ea8d45a5c181" providerId="ADAL" clId="{C49C2598-DE4D-4CD0-A197-C1971AACDF4C}" dt="2024-09-10T18:01:40.018" v="442" actId="478"/>
          <ac:spMkLst>
            <pc:docMk/>
            <pc:sldMk cId="20371015" sldId="2147310037"/>
            <ac:spMk id="3" creationId="{BA4CE627-F153-FEF6-FF06-42A15C5C1DBA}"/>
          </ac:spMkLst>
        </pc:spChg>
        <pc:spChg chg="del">
          <ac:chgData name="Fernando Enrique Nuñez Zapata" userId="4887fb29-3871-42a7-b0aa-ea8d45a5c181" providerId="ADAL" clId="{C49C2598-DE4D-4CD0-A197-C1971AACDF4C}" dt="2024-09-10T18:02:26.570" v="451" actId="478"/>
          <ac:spMkLst>
            <pc:docMk/>
            <pc:sldMk cId="20371015" sldId="2147310037"/>
            <ac:spMk id="6" creationId="{21A5F693-8EE5-E174-7135-F806BEF4E86C}"/>
          </ac:spMkLst>
        </pc:spChg>
        <pc:spChg chg="mod">
          <ac:chgData name="Fernando Enrique Nuñez Zapata" userId="4887fb29-3871-42a7-b0aa-ea8d45a5c181" providerId="ADAL" clId="{C49C2598-DE4D-4CD0-A197-C1971AACDF4C}" dt="2024-09-18T14:50:41.148" v="2115" actId="20577"/>
          <ac:spMkLst>
            <pc:docMk/>
            <pc:sldMk cId="20371015" sldId="2147310037"/>
            <ac:spMk id="8" creationId="{48FA6392-943C-70EF-9D32-01F15962CFC3}"/>
          </ac:spMkLst>
        </pc:spChg>
        <pc:spChg chg="del">
          <ac:chgData name="Fernando Enrique Nuñez Zapata" userId="4887fb29-3871-42a7-b0aa-ea8d45a5c181" providerId="ADAL" clId="{C49C2598-DE4D-4CD0-A197-C1971AACDF4C}" dt="2024-09-10T18:01:40.018" v="442" actId="478"/>
          <ac:spMkLst>
            <pc:docMk/>
            <pc:sldMk cId="20371015" sldId="2147310037"/>
            <ac:spMk id="13" creationId="{CDD46501-35B8-85EB-5449-485B1C66D82A}"/>
          </ac:spMkLst>
        </pc:spChg>
        <pc:spChg chg="del">
          <ac:chgData name="Fernando Enrique Nuñez Zapata" userId="4887fb29-3871-42a7-b0aa-ea8d45a5c181" providerId="ADAL" clId="{C49C2598-DE4D-4CD0-A197-C1971AACDF4C}" dt="2024-09-10T18:01:40.018" v="442" actId="478"/>
          <ac:spMkLst>
            <pc:docMk/>
            <pc:sldMk cId="20371015" sldId="2147310037"/>
            <ac:spMk id="16" creationId="{EA236476-9DE7-A3B9-3821-5B8788A8706F}"/>
          </ac:spMkLst>
        </pc:spChg>
        <pc:spChg chg="del">
          <ac:chgData name="Fernando Enrique Nuñez Zapata" userId="4887fb29-3871-42a7-b0aa-ea8d45a5c181" providerId="ADAL" clId="{C49C2598-DE4D-4CD0-A197-C1971AACDF4C}" dt="2024-09-10T18:02:10.118" v="448" actId="478"/>
          <ac:spMkLst>
            <pc:docMk/>
            <pc:sldMk cId="20371015" sldId="2147310037"/>
            <ac:spMk id="23" creationId="{883BFA46-087F-5375-4C9D-03912118CED5}"/>
          </ac:spMkLst>
        </pc:spChg>
        <pc:spChg chg="mod">
          <ac:chgData name="Fernando Enrique Nuñez Zapata" userId="4887fb29-3871-42a7-b0aa-ea8d45a5c181" providerId="ADAL" clId="{C49C2598-DE4D-4CD0-A197-C1971AACDF4C}" dt="2024-09-10T18:11:16.939" v="563" actId="1037"/>
          <ac:spMkLst>
            <pc:docMk/>
            <pc:sldMk cId="20371015" sldId="2147310037"/>
            <ac:spMk id="28" creationId="{71384855-0396-A9B4-27BE-26F7E46581BD}"/>
          </ac:spMkLst>
        </pc:spChg>
        <pc:spChg chg="del">
          <ac:chgData name="Fernando Enrique Nuñez Zapata" userId="4887fb29-3871-42a7-b0aa-ea8d45a5c181" providerId="ADAL" clId="{C49C2598-DE4D-4CD0-A197-C1971AACDF4C}" dt="2024-09-10T18:02:10.118" v="448" actId="478"/>
          <ac:spMkLst>
            <pc:docMk/>
            <pc:sldMk cId="20371015" sldId="2147310037"/>
            <ac:spMk id="38" creationId="{14CFA17B-C367-11F8-E49C-605972E2211D}"/>
          </ac:spMkLst>
        </pc:spChg>
        <pc:spChg chg="del">
          <ac:chgData name="Fernando Enrique Nuñez Zapata" userId="4887fb29-3871-42a7-b0aa-ea8d45a5c181" providerId="ADAL" clId="{C49C2598-DE4D-4CD0-A197-C1971AACDF4C}" dt="2024-09-10T18:02:10.118" v="448" actId="478"/>
          <ac:spMkLst>
            <pc:docMk/>
            <pc:sldMk cId="20371015" sldId="2147310037"/>
            <ac:spMk id="39" creationId="{58ACDE2D-7C54-18DD-218C-9D735788F3F7}"/>
          </ac:spMkLst>
        </pc:spChg>
        <pc:spChg chg="del">
          <ac:chgData name="Fernando Enrique Nuñez Zapata" userId="4887fb29-3871-42a7-b0aa-ea8d45a5c181" providerId="ADAL" clId="{C49C2598-DE4D-4CD0-A197-C1971AACDF4C}" dt="2024-09-10T18:02:10.118" v="448" actId="478"/>
          <ac:spMkLst>
            <pc:docMk/>
            <pc:sldMk cId="20371015" sldId="2147310037"/>
            <ac:spMk id="40" creationId="{C48E7C8B-7BB8-BC42-9337-24AD381C1325}"/>
          </ac:spMkLst>
        </pc:spChg>
        <pc:spChg chg="del">
          <ac:chgData name="Fernando Enrique Nuñez Zapata" userId="4887fb29-3871-42a7-b0aa-ea8d45a5c181" providerId="ADAL" clId="{C49C2598-DE4D-4CD0-A197-C1971AACDF4C}" dt="2024-09-10T18:02:26.570" v="451" actId="478"/>
          <ac:spMkLst>
            <pc:docMk/>
            <pc:sldMk cId="20371015" sldId="2147310037"/>
            <ac:spMk id="41" creationId="{D7018A3F-35D8-6F0B-1733-07EE91A81A22}"/>
          </ac:spMkLst>
        </pc:spChg>
        <pc:spChg chg="del">
          <ac:chgData name="Fernando Enrique Nuñez Zapata" userId="4887fb29-3871-42a7-b0aa-ea8d45a5c181" providerId="ADAL" clId="{C49C2598-DE4D-4CD0-A197-C1971AACDF4C}" dt="2024-09-10T18:01:40.018" v="442" actId="478"/>
          <ac:spMkLst>
            <pc:docMk/>
            <pc:sldMk cId="20371015" sldId="2147310037"/>
            <ac:spMk id="43" creationId="{9BA8E4B3-8EF0-E943-ECB3-EC5A0AB4BD2C}"/>
          </ac:spMkLst>
        </pc:spChg>
        <pc:spChg chg="del">
          <ac:chgData name="Fernando Enrique Nuñez Zapata" userId="4887fb29-3871-42a7-b0aa-ea8d45a5c181" providerId="ADAL" clId="{C49C2598-DE4D-4CD0-A197-C1971AACDF4C}" dt="2024-09-10T18:01:40.018" v="442" actId="478"/>
          <ac:spMkLst>
            <pc:docMk/>
            <pc:sldMk cId="20371015" sldId="2147310037"/>
            <ac:spMk id="44" creationId="{DF688B7E-E1C8-20FF-3A41-F452D08BF9B1}"/>
          </ac:spMkLst>
        </pc:spChg>
        <pc:spChg chg="del">
          <ac:chgData name="Fernando Enrique Nuñez Zapata" userId="4887fb29-3871-42a7-b0aa-ea8d45a5c181" providerId="ADAL" clId="{C49C2598-DE4D-4CD0-A197-C1971AACDF4C}" dt="2024-09-10T18:01:40.018" v="442" actId="478"/>
          <ac:spMkLst>
            <pc:docMk/>
            <pc:sldMk cId="20371015" sldId="2147310037"/>
            <ac:spMk id="45" creationId="{90CE55CD-497A-37F0-6A7D-E08265B6E909}"/>
          </ac:spMkLst>
        </pc:spChg>
        <pc:spChg chg="del">
          <ac:chgData name="Fernando Enrique Nuñez Zapata" userId="4887fb29-3871-42a7-b0aa-ea8d45a5c181" providerId="ADAL" clId="{C49C2598-DE4D-4CD0-A197-C1971AACDF4C}" dt="2024-09-10T18:02:10.118" v="448" actId="478"/>
          <ac:spMkLst>
            <pc:docMk/>
            <pc:sldMk cId="20371015" sldId="2147310037"/>
            <ac:spMk id="46" creationId="{7FB240D2-5841-AD77-5FDB-4683A50E8F9F}"/>
          </ac:spMkLst>
        </pc:spChg>
        <pc:spChg chg="del">
          <ac:chgData name="Fernando Enrique Nuñez Zapata" userId="4887fb29-3871-42a7-b0aa-ea8d45a5c181" providerId="ADAL" clId="{C49C2598-DE4D-4CD0-A197-C1971AACDF4C}" dt="2024-09-10T18:02:10.118" v="448" actId="478"/>
          <ac:spMkLst>
            <pc:docMk/>
            <pc:sldMk cId="20371015" sldId="2147310037"/>
            <ac:spMk id="55" creationId="{66D21F0C-17DF-5524-D8B0-348DF0B39A75}"/>
          </ac:spMkLst>
        </pc:spChg>
        <pc:spChg chg="del">
          <ac:chgData name="Fernando Enrique Nuñez Zapata" userId="4887fb29-3871-42a7-b0aa-ea8d45a5c181" providerId="ADAL" clId="{C49C2598-DE4D-4CD0-A197-C1971AACDF4C}" dt="2024-09-10T18:02:10.118" v="448" actId="478"/>
          <ac:spMkLst>
            <pc:docMk/>
            <pc:sldMk cId="20371015" sldId="2147310037"/>
            <ac:spMk id="56" creationId="{5ECDA41B-DBF0-E862-10E8-7F29E85DB828}"/>
          </ac:spMkLst>
        </pc:spChg>
        <pc:spChg chg="del">
          <ac:chgData name="Fernando Enrique Nuñez Zapata" userId="4887fb29-3871-42a7-b0aa-ea8d45a5c181" providerId="ADAL" clId="{C49C2598-DE4D-4CD0-A197-C1971AACDF4C}" dt="2024-09-10T18:02:10.118" v="448" actId="478"/>
          <ac:spMkLst>
            <pc:docMk/>
            <pc:sldMk cId="20371015" sldId="2147310037"/>
            <ac:spMk id="57" creationId="{F96C8FA7-07F8-A13B-7DF0-D718B0DA8579}"/>
          </ac:spMkLst>
        </pc:spChg>
        <pc:spChg chg="mod">
          <ac:chgData name="Fernando Enrique Nuñez Zapata" userId="4887fb29-3871-42a7-b0aa-ea8d45a5c181" providerId="ADAL" clId="{C49C2598-DE4D-4CD0-A197-C1971AACDF4C}" dt="2024-09-10T18:06:06.448" v="455" actId="108"/>
          <ac:spMkLst>
            <pc:docMk/>
            <pc:sldMk cId="20371015" sldId="2147310037"/>
            <ac:spMk id="97" creationId="{A5B860CA-15DD-5A18-1755-A866FDF017A5}"/>
          </ac:spMkLst>
        </pc:spChg>
        <pc:spChg chg="mod">
          <ac:chgData name="Fernando Enrique Nuñez Zapata" userId="4887fb29-3871-42a7-b0aa-ea8d45a5c181" providerId="ADAL" clId="{C49C2598-DE4D-4CD0-A197-C1971AACDF4C}" dt="2024-09-10T18:06:08.744" v="456" actId="108"/>
          <ac:spMkLst>
            <pc:docMk/>
            <pc:sldMk cId="20371015" sldId="2147310037"/>
            <ac:spMk id="99" creationId="{EBF963D8-1313-EC79-EAEF-C30FC38B1533}"/>
          </ac:spMkLst>
        </pc:spChg>
        <pc:spChg chg="mod">
          <ac:chgData name="Fernando Enrique Nuñez Zapata" userId="4887fb29-3871-42a7-b0aa-ea8d45a5c181" providerId="ADAL" clId="{C49C2598-DE4D-4CD0-A197-C1971AACDF4C}" dt="2024-09-10T18:05:57.599" v="453" actId="108"/>
          <ac:spMkLst>
            <pc:docMk/>
            <pc:sldMk cId="20371015" sldId="2147310037"/>
            <ac:spMk id="103" creationId="{B59C0810-B15F-2DEB-50A1-1824A8332FB3}"/>
          </ac:spMkLst>
        </pc:spChg>
        <pc:spChg chg="mod">
          <ac:chgData name="Fernando Enrique Nuñez Zapata" userId="4887fb29-3871-42a7-b0aa-ea8d45a5c181" providerId="ADAL" clId="{C49C2598-DE4D-4CD0-A197-C1971AACDF4C}" dt="2024-09-10T18:04:04.875" v="452" actId="108"/>
          <ac:spMkLst>
            <pc:docMk/>
            <pc:sldMk cId="20371015" sldId="2147310037"/>
            <ac:spMk id="104" creationId="{BC027290-92ED-65DF-7576-AAA00D75036A}"/>
          </ac:spMkLst>
        </pc:spChg>
        <pc:spChg chg="mod">
          <ac:chgData name="Fernando Enrique Nuñez Zapata" userId="4887fb29-3871-42a7-b0aa-ea8d45a5c181" providerId="ADAL" clId="{C49C2598-DE4D-4CD0-A197-C1971AACDF4C}" dt="2024-09-10T18:06:01.600" v="454" actId="108"/>
          <ac:spMkLst>
            <pc:docMk/>
            <pc:sldMk cId="20371015" sldId="2147310037"/>
            <ac:spMk id="105" creationId="{A0B213D8-7848-9AD9-A580-6A4B0DE69B9B}"/>
          </ac:spMkLst>
        </pc:spChg>
        <pc:grpChg chg="mod">
          <ac:chgData name="Fernando Enrique Nuñez Zapata" userId="4887fb29-3871-42a7-b0aa-ea8d45a5c181" providerId="ADAL" clId="{C49C2598-DE4D-4CD0-A197-C1971AACDF4C}" dt="2024-09-10T18:07:06.186" v="476" actId="1038"/>
          <ac:grpSpMkLst>
            <pc:docMk/>
            <pc:sldMk cId="20371015" sldId="2147310037"/>
            <ac:grpSpMk id="71" creationId="{FF7209EA-C8C0-A718-795F-D3F9E618D4F4}"/>
          </ac:grpSpMkLst>
        </pc:grpChg>
        <pc:graphicFrameChg chg="mod modGraphic">
          <ac:chgData name="Fernando Enrique Nuñez Zapata" userId="4887fb29-3871-42a7-b0aa-ea8d45a5c181" providerId="ADAL" clId="{C49C2598-DE4D-4CD0-A197-C1971AACDF4C}" dt="2024-09-18T22:14:31.496" v="2762" actId="20577"/>
          <ac:graphicFrameMkLst>
            <pc:docMk/>
            <pc:sldMk cId="20371015" sldId="2147310037"/>
            <ac:graphicFrameMk id="7" creationId="{86558587-26DE-D04D-0271-A55E7F7A706F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1:56:44.727" v="2637" actId="20577"/>
          <ac:graphicFrameMkLst>
            <pc:docMk/>
            <pc:sldMk cId="20371015" sldId="2147310037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2:23:10.643" v="2844" actId="20577"/>
          <ac:graphicFrameMkLst>
            <pc:docMk/>
            <pc:sldMk cId="20371015" sldId="2147310037"/>
            <ac:graphicFrameMk id="74" creationId="{87F77502-D64F-3351-7D83-382B7F6D8C9E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02:23.059" v="450" actId="2166"/>
          <ac:graphicFrameMkLst>
            <pc:docMk/>
            <pc:sldMk cId="20371015" sldId="2147310037"/>
            <ac:graphicFrameMk id="76" creationId="{77FF5062-77FE-063A-F3BF-E3BDA886374A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0T18:02:14.515" v="449" actId="14100"/>
          <ac:graphicFrameMkLst>
            <pc:docMk/>
            <pc:sldMk cId="20371015" sldId="2147310037"/>
            <ac:graphicFrameMk id="79" creationId="{AE610A2F-1113-208E-6D2C-74575A226BCE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02:05.966" v="447" actId="2166"/>
          <ac:graphicFrameMkLst>
            <pc:docMk/>
            <pc:sldMk cId="20371015" sldId="2147310037"/>
            <ac:graphicFrameMk id="93" creationId="{FC23B43C-5CDE-E746-BB68-17DF76019E26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01:51.550" v="446" actId="20577"/>
          <ac:graphicFrameMkLst>
            <pc:docMk/>
            <pc:sldMk cId="20371015" sldId="2147310037"/>
            <ac:graphicFrameMk id="116" creationId="{3A0C57E6-135A-4CDE-2036-FCFC5749E4BD}"/>
          </ac:graphicFrameMkLst>
        </pc:graphicFrameChg>
        <pc:cxnChg chg="mod">
          <ac:chgData name="Fernando Enrique Nuñez Zapata" userId="4887fb29-3871-42a7-b0aa-ea8d45a5c181" providerId="ADAL" clId="{C49C2598-DE4D-4CD0-A197-C1971AACDF4C}" dt="2024-09-10T18:11:16.939" v="563" actId="1037"/>
          <ac:cxnSpMkLst>
            <pc:docMk/>
            <pc:sldMk cId="20371015" sldId="2147310037"/>
            <ac:cxnSpMk id="24" creationId="{D1CA1A3B-97BF-A4F0-676D-2E2BF5351516}"/>
          </ac:cxnSpMkLst>
        </pc:cxnChg>
        <pc:cxnChg chg="mod">
          <ac:chgData name="Fernando Enrique Nuñez Zapata" userId="4887fb29-3871-42a7-b0aa-ea8d45a5c181" providerId="ADAL" clId="{C49C2598-DE4D-4CD0-A197-C1971AACDF4C}" dt="2024-09-10T18:11:16.939" v="563" actId="1037"/>
          <ac:cxnSpMkLst>
            <pc:docMk/>
            <pc:sldMk cId="20371015" sldId="2147310037"/>
            <ac:cxnSpMk id="26" creationId="{BAFC660C-DB27-024A-8264-141ACA3FE584}"/>
          </ac:cxnSpMkLst>
        </pc:cxnChg>
        <pc:cxnChg chg="mod">
          <ac:chgData name="Fernando Enrique Nuñez Zapata" userId="4887fb29-3871-42a7-b0aa-ea8d45a5c181" providerId="ADAL" clId="{C49C2598-DE4D-4CD0-A197-C1971AACDF4C}" dt="2024-09-10T18:07:06.186" v="476" actId="1038"/>
          <ac:cxnSpMkLst>
            <pc:docMk/>
            <pc:sldMk cId="20371015" sldId="2147310037"/>
            <ac:cxnSpMk id="51" creationId="{C206E334-3B8E-C988-A1A2-955D965AC5FD}"/>
          </ac:cxnSpMkLst>
        </pc:cxnChg>
      </pc:sldChg>
      <pc:sldChg chg="delSp modSp add mod delAnim">
        <pc:chgData name="Fernando Enrique Nuñez Zapata" userId="4887fb29-3871-42a7-b0aa-ea8d45a5c181" providerId="ADAL" clId="{C49C2598-DE4D-4CD0-A197-C1971AACDF4C}" dt="2024-09-18T22:24:26.900" v="2863" actId="20577"/>
        <pc:sldMkLst>
          <pc:docMk/>
          <pc:sldMk cId="1170878351" sldId="2147310038"/>
        </pc:sldMkLst>
        <pc:spChg chg="mod">
          <ac:chgData name="Fernando Enrique Nuñez Zapata" userId="4887fb29-3871-42a7-b0aa-ea8d45a5c181" providerId="ADAL" clId="{C49C2598-DE4D-4CD0-A197-C1971AACDF4C}" dt="2024-09-18T14:35:01.338" v="2103" actId="20577"/>
          <ac:spMkLst>
            <pc:docMk/>
            <pc:sldMk cId="1170878351" sldId="2147310038"/>
            <ac:spMk id="4" creationId="{214813B5-CFED-29B4-BF6F-6CDF2DFD1998}"/>
          </ac:spMkLst>
        </pc:spChg>
        <pc:spChg chg="del">
          <ac:chgData name="Fernando Enrique Nuñez Zapata" userId="4887fb29-3871-42a7-b0aa-ea8d45a5c181" providerId="ADAL" clId="{C49C2598-DE4D-4CD0-A197-C1971AACDF4C}" dt="2024-09-10T18:18:13.037" v="616" actId="478"/>
          <ac:spMkLst>
            <pc:docMk/>
            <pc:sldMk cId="1170878351" sldId="2147310038"/>
            <ac:spMk id="6" creationId="{794426CF-02AC-ED77-A5F9-A3D5E7DAFD90}"/>
          </ac:spMkLst>
        </pc:spChg>
        <pc:spChg chg="mod">
          <ac:chgData name="Fernando Enrique Nuñez Zapata" userId="4887fb29-3871-42a7-b0aa-ea8d45a5c181" providerId="ADAL" clId="{C49C2598-DE4D-4CD0-A197-C1971AACDF4C}" dt="2024-09-10T18:14:45.376" v="605" actId="108"/>
          <ac:spMkLst>
            <pc:docMk/>
            <pc:sldMk cId="1170878351" sldId="2147310038"/>
            <ac:spMk id="14" creationId="{55F3AC05-84DF-027D-1801-163D43A7647C}"/>
          </ac:spMkLst>
        </pc:spChg>
        <pc:spChg chg="mod">
          <ac:chgData name="Fernando Enrique Nuñez Zapata" userId="4887fb29-3871-42a7-b0aa-ea8d45a5c181" providerId="ADAL" clId="{C49C2598-DE4D-4CD0-A197-C1971AACDF4C}" dt="2024-09-10T18:22:27.275" v="711" actId="1037"/>
          <ac:spMkLst>
            <pc:docMk/>
            <pc:sldMk cId="1170878351" sldId="2147310038"/>
            <ac:spMk id="23" creationId="{5C53E7DF-5446-8BB3-EAD8-2C4B22F3C78A}"/>
          </ac:spMkLst>
        </pc:spChg>
        <pc:spChg chg="mod">
          <ac:chgData name="Fernando Enrique Nuñez Zapata" userId="4887fb29-3871-42a7-b0aa-ea8d45a5c181" providerId="ADAL" clId="{C49C2598-DE4D-4CD0-A197-C1971AACDF4C}" dt="2024-09-10T18:17:45.073" v="613" actId="108"/>
          <ac:spMkLst>
            <pc:docMk/>
            <pc:sldMk cId="1170878351" sldId="2147310038"/>
            <ac:spMk id="32" creationId="{3B9AA55F-FE92-BBE1-1BB2-11A20D9429C5}"/>
          </ac:spMkLst>
        </pc:spChg>
        <pc:spChg chg="del">
          <ac:chgData name="Fernando Enrique Nuñez Zapata" userId="4887fb29-3871-42a7-b0aa-ea8d45a5c181" providerId="ADAL" clId="{C49C2598-DE4D-4CD0-A197-C1971AACDF4C}" dt="2024-09-10T18:18:13.037" v="616" actId="478"/>
          <ac:spMkLst>
            <pc:docMk/>
            <pc:sldMk cId="1170878351" sldId="2147310038"/>
            <ac:spMk id="41" creationId="{2E8B83D7-43BF-4EB2-0401-67B12A9AE197}"/>
          </ac:spMkLst>
        </pc:spChg>
        <pc:spChg chg="del">
          <ac:chgData name="Fernando Enrique Nuñez Zapata" userId="4887fb29-3871-42a7-b0aa-ea8d45a5c181" providerId="ADAL" clId="{C49C2598-DE4D-4CD0-A197-C1971AACDF4C}" dt="2024-09-10T18:15:19.097" v="607" actId="478"/>
          <ac:spMkLst>
            <pc:docMk/>
            <pc:sldMk cId="1170878351" sldId="2147310038"/>
            <ac:spMk id="42" creationId="{2803EE5D-2345-F47A-17F2-846D4D40B8E3}"/>
          </ac:spMkLst>
        </pc:spChg>
        <pc:spChg chg="del">
          <ac:chgData name="Fernando Enrique Nuñez Zapata" userId="4887fb29-3871-42a7-b0aa-ea8d45a5c181" providerId="ADAL" clId="{C49C2598-DE4D-4CD0-A197-C1971AACDF4C}" dt="2024-09-10T18:15:19.097" v="607" actId="478"/>
          <ac:spMkLst>
            <pc:docMk/>
            <pc:sldMk cId="1170878351" sldId="2147310038"/>
            <ac:spMk id="43" creationId="{E63EF131-7846-D4F0-2789-901EB6BDCE06}"/>
          </ac:spMkLst>
        </pc:spChg>
        <pc:spChg chg="del">
          <ac:chgData name="Fernando Enrique Nuñez Zapata" userId="4887fb29-3871-42a7-b0aa-ea8d45a5c181" providerId="ADAL" clId="{C49C2598-DE4D-4CD0-A197-C1971AACDF4C}" dt="2024-09-10T18:15:19.097" v="607" actId="478"/>
          <ac:spMkLst>
            <pc:docMk/>
            <pc:sldMk cId="1170878351" sldId="2147310038"/>
            <ac:spMk id="44" creationId="{0E75D428-3B23-B95B-138D-0088F652DC1C}"/>
          </ac:spMkLst>
        </pc:spChg>
        <pc:spChg chg="del">
          <ac:chgData name="Fernando Enrique Nuñez Zapata" userId="4887fb29-3871-42a7-b0aa-ea8d45a5c181" providerId="ADAL" clId="{C49C2598-DE4D-4CD0-A197-C1971AACDF4C}" dt="2024-09-10T18:15:19.097" v="607" actId="478"/>
          <ac:spMkLst>
            <pc:docMk/>
            <pc:sldMk cId="1170878351" sldId="2147310038"/>
            <ac:spMk id="45" creationId="{75C8FE08-515A-EB70-D024-5DBFA8233DD6}"/>
          </ac:spMkLst>
        </pc:spChg>
        <pc:spChg chg="del">
          <ac:chgData name="Fernando Enrique Nuñez Zapata" userId="4887fb29-3871-42a7-b0aa-ea8d45a5c181" providerId="ADAL" clId="{C49C2598-DE4D-4CD0-A197-C1971AACDF4C}" dt="2024-09-10T18:15:19.097" v="607" actId="478"/>
          <ac:spMkLst>
            <pc:docMk/>
            <pc:sldMk cId="1170878351" sldId="2147310038"/>
            <ac:spMk id="46" creationId="{787C817C-5D86-609A-581F-68E8A9ABE69E}"/>
          </ac:spMkLst>
        </pc:spChg>
        <pc:spChg chg="del">
          <ac:chgData name="Fernando Enrique Nuñez Zapata" userId="4887fb29-3871-42a7-b0aa-ea8d45a5c181" providerId="ADAL" clId="{C49C2598-DE4D-4CD0-A197-C1971AACDF4C}" dt="2024-09-10T18:15:19.097" v="607" actId="478"/>
          <ac:spMkLst>
            <pc:docMk/>
            <pc:sldMk cId="1170878351" sldId="2147310038"/>
            <ac:spMk id="49" creationId="{94C21D5F-3108-E7D8-529D-85A9B3D0A42C}"/>
          </ac:spMkLst>
        </pc:spChg>
        <pc:spChg chg="del">
          <ac:chgData name="Fernando Enrique Nuñez Zapata" userId="4887fb29-3871-42a7-b0aa-ea8d45a5c181" providerId="ADAL" clId="{C49C2598-DE4D-4CD0-A197-C1971AACDF4C}" dt="2024-09-10T18:15:19.097" v="607" actId="478"/>
          <ac:spMkLst>
            <pc:docMk/>
            <pc:sldMk cId="1170878351" sldId="2147310038"/>
            <ac:spMk id="51" creationId="{0CD4A289-3C44-D1B2-2F73-C6014134DA8A}"/>
          </ac:spMkLst>
        </pc:spChg>
        <pc:spChg chg="del">
          <ac:chgData name="Fernando Enrique Nuñez Zapata" userId="4887fb29-3871-42a7-b0aa-ea8d45a5c181" providerId="ADAL" clId="{C49C2598-DE4D-4CD0-A197-C1971AACDF4C}" dt="2024-09-10T18:15:19.097" v="607" actId="478"/>
          <ac:spMkLst>
            <pc:docMk/>
            <pc:sldMk cId="1170878351" sldId="2147310038"/>
            <ac:spMk id="59" creationId="{D3BDC942-011B-E1ED-FA9F-520DB38C267A}"/>
          </ac:spMkLst>
        </pc:spChg>
        <pc:spChg chg="del">
          <ac:chgData name="Fernando Enrique Nuñez Zapata" userId="4887fb29-3871-42a7-b0aa-ea8d45a5c181" providerId="ADAL" clId="{C49C2598-DE4D-4CD0-A197-C1971AACDF4C}" dt="2024-09-10T18:13:03.948" v="573" actId="478"/>
          <ac:spMkLst>
            <pc:docMk/>
            <pc:sldMk cId="1170878351" sldId="2147310038"/>
            <ac:spMk id="60" creationId="{AC0373C8-E4E9-2D37-D1A1-54B26C2FC049}"/>
          </ac:spMkLst>
        </pc:spChg>
        <pc:spChg chg="del">
          <ac:chgData name="Fernando Enrique Nuñez Zapata" userId="4887fb29-3871-42a7-b0aa-ea8d45a5c181" providerId="ADAL" clId="{C49C2598-DE4D-4CD0-A197-C1971AACDF4C}" dt="2024-09-10T18:13:03.948" v="573" actId="478"/>
          <ac:spMkLst>
            <pc:docMk/>
            <pc:sldMk cId="1170878351" sldId="2147310038"/>
            <ac:spMk id="65" creationId="{9F8AF1AE-AC92-73B3-4E9C-EEFED05973E6}"/>
          </ac:spMkLst>
        </pc:spChg>
        <pc:spChg chg="del">
          <ac:chgData name="Fernando Enrique Nuñez Zapata" userId="4887fb29-3871-42a7-b0aa-ea8d45a5c181" providerId="ADAL" clId="{C49C2598-DE4D-4CD0-A197-C1971AACDF4C}" dt="2024-09-10T18:13:03.948" v="573" actId="478"/>
          <ac:spMkLst>
            <pc:docMk/>
            <pc:sldMk cId="1170878351" sldId="2147310038"/>
            <ac:spMk id="66" creationId="{FA16898D-D8C7-51EB-2611-3C253274A308}"/>
          </ac:spMkLst>
        </pc:spChg>
        <pc:spChg chg="del">
          <ac:chgData name="Fernando Enrique Nuñez Zapata" userId="4887fb29-3871-42a7-b0aa-ea8d45a5c181" providerId="ADAL" clId="{C49C2598-DE4D-4CD0-A197-C1971AACDF4C}" dt="2024-09-10T18:13:03.948" v="573" actId="478"/>
          <ac:spMkLst>
            <pc:docMk/>
            <pc:sldMk cId="1170878351" sldId="2147310038"/>
            <ac:spMk id="67" creationId="{9B7DC874-148D-D8C3-E3D7-BBE69C83D369}"/>
          </ac:spMkLst>
        </pc:spChg>
        <pc:spChg chg="mod">
          <ac:chgData name="Fernando Enrique Nuñez Zapata" userId="4887fb29-3871-42a7-b0aa-ea8d45a5c181" providerId="ADAL" clId="{C49C2598-DE4D-4CD0-A197-C1971AACDF4C}" dt="2024-09-10T18:17:40.138" v="611" actId="108"/>
          <ac:spMkLst>
            <pc:docMk/>
            <pc:sldMk cId="1170878351" sldId="2147310038"/>
            <ac:spMk id="70" creationId="{BBEB28A8-6A34-0F83-2E2C-27D27ACF0D6C}"/>
          </ac:spMkLst>
        </pc:spChg>
        <pc:spChg chg="del">
          <ac:chgData name="Fernando Enrique Nuñez Zapata" userId="4887fb29-3871-42a7-b0aa-ea8d45a5c181" providerId="ADAL" clId="{C49C2598-DE4D-4CD0-A197-C1971AACDF4C}" dt="2024-09-10T18:13:03.948" v="573" actId="478"/>
          <ac:spMkLst>
            <pc:docMk/>
            <pc:sldMk cId="1170878351" sldId="2147310038"/>
            <ac:spMk id="71" creationId="{29E60385-B14E-A5E5-1E05-79D62CE39A9B}"/>
          </ac:spMkLst>
        </pc:spChg>
        <pc:spChg chg="del">
          <ac:chgData name="Fernando Enrique Nuñez Zapata" userId="4887fb29-3871-42a7-b0aa-ea8d45a5c181" providerId="ADAL" clId="{C49C2598-DE4D-4CD0-A197-C1971AACDF4C}" dt="2024-09-10T18:13:03.948" v="573" actId="478"/>
          <ac:spMkLst>
            <pc:docMk/>
            <pc:sldMk cId="1170878351" sldId="2147310038"/>
            <ac:spMk id="72" creationId="{C655077A-BD89-1610-F59E-3B292CA2D682}"/>
          </ac:spMkLst>
        </pc:spChg>
        <pc:spChg chg="mod">
          <ac:chgData name="Fernando Enrique Nuñez Zapata" userId="4887fb29-3871-42a7-b0aa-ea8d45a5c181" providerId="ADAL" clId="{C49C2598-DE4D-4CD0-A197-C1971AACDF4C}" dt="2024-09-10T18:16:55.213" v="608" actId="108"/>
          <ac:spMkLst>
            <pc:docMk/>
            <pc:sldMk cId="1170878351" sldId="2147310038"/>
            <ac:spMk id="74" creationId="{BC1EAD57-6D90-B26B-8862-651DC4E71D73}"/>
          </ac:spMkLst>
        </pc:spChg>
        <pc:spChg chg="mod">
          <ac:chgData name="Fernando Enrique Nuñez Zapata" userId="4887fb29-3871-42a7-b0aa-ea8d45a5c181" providerId="ADAL" clId="{C49C2598-DE4D-4CD0-A197-C1971AACDF4C}" dt="2024-09-10T18:17:32.898" v="610" actId="108"/>
          <ac:spMkLst>
            <pc:docMk/>
            <pc:sldMk cId="1170878351" sldId="2147310038"/>
            <ac:spMk id="76" creationId="{C7D41C9F-FC11-2E44-B569-AFDAC7DF3438}"/>
          </ac:spMkLst>
        </pc:spChg>
        <pc:spChg chg="mod">
          <ac:chgData name="Fernando Enrique Nuñez Zapata" userId="4887fb29-3871-42a7-b0aa-ea8d45a5c181" providerId="ADAL" clId="{C49C2598-DE4D-4CD0-A197-C1971AACDF4C}" dt="2024-09-10T18:16:59.143" v="609" actId="108"/>
          <ac:spMkLst>
            <pc:docMk/>
            <pc:sldMk cId="1170878351" sldId="2147310038"/>
            <ac:spMk id="77" creationId="{978095CC-A9FA-18DE-4B1A-55D761BCB86E}"/>
          </ac:spMkLst>
        </pc:spChg>
        <pc:spChg chg="mod">
          <ac:chgData name="Fernando Enrique Nuñez Zapata" userId="4887fb29-3871-42a7-b0aa-ea8d45a5c181" providerId="ADAL" clId="{C49C2598-DE4D-4CD0-A197-C1971AACDF4C}" dt="2024-09-10T18:17:42.826" v="612" actId="108"/>
          <ac:spMkLst>
            <pc:docMk/>
            <pc:sldMk cId="1170878351" sldId="2147310038"/>
            <ac:spMk id="80" creationId="{FE9551CB-F25B-C281-1522-FD0CCA75A65C}"/>
          </ac:spMkLst>
        </pc:spChg>
        <pc:spChg chg="mod">
          <ac:chgData name="Fernando Enrique Nuñez Zapata" userId="4887fb29-3871-42a7-b0aa-ea8d45a5c181" providerId="ADAL" clId="{C49C2598-DE4D-4CD0-A197-C1971AACDF4C}" dt="2024-09-10T18:14:36.928" v="603" actId="108"/>
          <ac:spMkLst>
            <pc:docMk/>
            <pc:sldMk cId="1170878351" sldId="2147310038"/>
            <ac:spMk id="94" creationId="{911D8C79-D855-6399-0A02-B53EE2FC71E2}"/>
          </ac:spMkLst>
        </pc:spChg>
        <pc:spChg chg="mod">
          <ac:chgData name="Fernando Enrique Nuñez Zapata" userId="4887fb29-3871-42a7-b0aa-ea8d45a5c181" providerId="ADAL" clId="{C49C2598-DE4D-4CD0-A197-C1971AACDF4C}" dt="2024-09-10T18:14:41.965" v="604" actId="108"/>
          <ac:spMkLst>
            <pc:docMk/>
            <pc:sldMk cId="1170878351" sldId="2147310038"/>
            <ac:spMk id="97" creationId="{0F457F18-4F9E-201F-2D05-8D226B84FA76}"/>
          </ac:spMkLst>
        </pc:spChg>
        <pc:grpChg chg="mod">
          <ac:chgData name="Fernando Enrique Nuñez Zapata" userId="4887fb29-3871-42a7-b0aa-ea8d45a5c181" providerId="ADAL" clId="{C49C2598-DE4D-4CD0-A197-C1971AACDF4C}" dt="2024-09-10T18:22:27.275" v="711" actId="1037"/>
          <ac:grpSpMkLst>
            <pc:docMk/>
            <pc:sldMk cId="1170878351" sldId="2147310038"/>
            <ac:grpSpMk id="31" creationId="{1DB416D3-DF5E-D3DA-70A1-5AFA3C8D6B36}"/>
          </ac:grpSpMkLst>
        </pc:grpChg>
        <pc:grpChg chg="mod">
          <ac:chgData name="Fernando Enrique Nuñez Zapata" userId="4887fb29-3871-42a7-b0aa-ea8d45a5c181" providerId="ADAL" clId="{C49C2598-DE4D-4CD0-A197-C1971AACDF4C}" dt="2024-09-10T18:18:21.132" v="633" actId="1037"/>
          <ac:grpSpMkLst>
            <pc:docMk/>
            <pc:sldMk cId="1170878351" sldId="2147310038"/>
            <ac:grpSpMk id="100" creationId="{40F1A526-D7B5-8B1C-930F-65535833FD1B}"/>
          </ac:grpSpMkLst>
        </pc:grpChg>
        <pc:graphicFrameChg chg="mod modGraphic">
          <ac:chgData name="Fernando Enrique Nuñez Zapata" userId="4887fb29-3871-42a7-b0aa-ea8d45a5c181" providerId="ADAL" clId="{C49C2598-DE4D-4CD0-A197-C1971AACDF4C}" dt="2024-09-18T22:14:57.959" v="2766" actId="20577"/>
          <ac:graphicFrameMkLst>
            <pc:docMk/>
            <pc:sldMk cId="1170878351" sldId="2147310038"/>
            <ac:graphicFrameMk id="7" creationId="{28F7654C-9BC4-62F3-BB2C-27416681D566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18:09.766" v="615" actId="2166"/>
          <ac:graphicFrameMkLst>
            <pc:docMk/>
            <pc:sldMk cId="1170878351" sldId="2147310038"/>
            <ac:graphicFrameMk id="9" creationId="{6CAFEE46-651C-4D5E-688E-AA3C88B6FD69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2:24:26.900" v="2863" actId="20577"/>
          <ac:graphicFrameMkLst>
            <pc:docMk/>
            <pc:sldMk cId="1170878351" sldId="2147310038"/>
            <ac:graphicFrameMk id="17" creationId="{ED1D585B-8D86-CE1C-595A-74C0F43D168B}"/>
          </ac:graphicFrameMkLst>
        </pc:graphicFrameChg>
        <pc:graphicFrameChg chg="mod modGraphic">
          <ac:chgData name="Fernando Enrique Nuñez Zapata" userId="4887fb29-3871-42a7-b0aa-ea8d45a5c181" providerId="ADAL" clId="{C49C2598-DE4D-4CD0-A197-C1971AACDF4C}" dt="2024-09-18T21:58:36.298" v="2650" actId="20577"/>
          <ac:graphicFrameMkLst>
            <pc:docMk/>
            <pc:sldMk cId="1170878351" sldId="2147310038"/>
            <ac:graphicFrameMk id="18" creationId="{D710D321-6E73-A9B7-385B-8DB2F1C55AB5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18:00.273" v="614" actId="14100"/>
          <ac:graphicFrameMkLst>
            <pc:docMk/>
            <pc:sldMk cId="1170878351" sldId="2147310038"/>
            <ac:graphicFrameMk id="24" creationId="{1F63B92A-AAF5-96C2-6880-F383DEA45B0D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15:14.874" v="606" actId="2166"/>
          <ac:graphicFrameMkLst>
            <pc:docMk/>
            <pc:sldMk cId="1170878351" sldId="2147310038"/>
            <ac:graphicFrameMk id="61" creationId="{F80C53DB-1346-9B12-6010-601F74E865A3}"/>
          </ac:graphicFrameMkLst>
        </pc:graphicFrameChg>
        <pc:graphicFrameChg chg="modGraphic">
          <ac:chgData name="Fernando Enrique Nuñez Zapata" userId="4887fb29-3871-42a7-b0aa-ea8d45a5c181" providerId="ADAL" clId="{C49C2598-DE4D-4CD0-A197-C1971AACDF4C}" dt="2024-09-10T18:13:28.501" v="602" actId="20577"/>
          <ac:graphicFrameMkLst>
            <pc:docMk/>
            <pc:sldMk cId="1170878351" sldId="2147310038"/>
            <ac:graphicFrameMk id="83" creationId="{078028E8-7344-67A2-47F9-81298AFE5B2F}"/>
          </ac:graphicFrameMkLst>
        </pc:graphicFrameChg>
        <pc:cxnChg chg="mod">
          <ac:chgData name="Fernando Enrique Nuñez Zapata" userId="4887fb29-3871-42a7-b0aa-ea8d45a5c181" providerId="ADAL" clId="{C49C2598-DE4D-4CD0-A197-C1971AACDF4C}" dt="2024-09-10T18:22:27.275" v="711" actId="1037"/>
          <ac:cxnSpMkLst>
            <pc:docMk/>
            <pc:sldMk cId="1170878351" sldId="2147310038"/>
            <ac:cxnSpMk id="26" creationId="{E5E3E115-6167-D937-90F3-8C6C0A2B3840}"/>
          </ac:cxnSpMkLst>
        </pc:cxnChg>
        <pc:cxnChg chg="mod">
          <ac:chgData name="Fernando Enrique Nuñez Zapata" userId="4887fb29-3871-42a7-b0aa-ea8d45a5c181" providerId="ADAL" clId="{C49C2598-DE4D-4CD0-A197-C1971AACDF4C}" dt="2024-09-10T18:18:21.132" v="633" actId="1037"/>
          <ac:cxnSpMkLst>
            <pc:docMk/>
            <pc:sldMk cId="1170878351" sldId="2147310038"/>
            <ac:cxnSpMk id="99" creationId="{C02670AE-9261-CA3F-F9D0-DD8729B1D1B0}"/>
          </ac:cxnSpMkLst>
        </pc:cxnChg>
      </pc:sldChg>
      <pc:sldChg chg="add del mod modShow">
        <pc:chgData name="Fernando Enrique Nuñez Zapata" userId="4887fb29-3871-42a7-b0aa-ea8d45a5c181" providerId="ADAL" clId="{C49C2598-DE4D-4CD0-A197-C1971AACDF4C}" dt="2024-09-18T22:18:35.973" v="2800" actId="47"/>
        <pc:sldMkLst>
          <pc:docMk/>
          <pc:sldMk cId="4137179373" sldId="2147310039"/>
        </pc:sldMkLst>
      </pc:sldChg>
    </pc:docChg>
  </pc:docChgLst>
  <pc:docChgLst>
    <pc:chgData name="Zeyda Belinda Alfaro Alva" userId="S::zalfaroa@palmas.com.pe::bd6668ce-fb96-4a77-ac3c-626e84c606bf" providerId="AD" clId="Web-{00F9E407-463D-4E96-BF8C-C31412E83CC3}"/>
    <pc:docChg chg="modSld">
      <pc:chgData name="Zeyda Belinda Alfaro Alva" userId="S::zalfaroa@palmas.com.pe::bd6668ce-fb96-4a77-ac3c-626e84c606bf" providerId="AD" clId="Web-{00F9E407-463D-4E96-BF8C-C31412E83CC3}" dt="2024-05-15T22:39:34.547" v="3" actId="1076"/>
      <pc:docMkLst>
        <pc:docMk/>
      </pc:docMkLst>
      <pc:sldChg chg="modSp">
        <pc:chgData name="Zeyda Belinda Alfaro Alva" userId="S::zalfaroa@palmas.com.pe::bd6668ce-fb96-4a77-ac3c-626e84c606bf" providerId="AD" clId="Web-{00F9E407-463D-4E96-BF8C-C31412E83CC3}" dt="2024-05-15T22:39:34.547" v="3" actId="1076"/>
        <pc:sldMkLst>
          <pc:docMk/>
          <pc:sldMk cId="649892551" sldId="2147310016"/>
        </pc:sldMkLst>
        <pc:spChg chg="mod">
          <ac:chgData name="Zeyda Belinda Alfaro Alva" userId="S::zalfaroa@palmas.com.pe::bd6668ce-fb96-4a77-ac3c-626e84c606bf" providerId="AD" clId="Web-{00F9E407-463D-4E96-BF8C-C31412E83CC3}" dt="2024-05-15T22:39:34.547" v="3" actId="1076"/>
          <ac:spMkLst>
            <pc:docMk/>
            <pc:sldMk cId="649892551" sldId="2147310016"/>
            <ac:spMk id="7" creationId="{82F30E2E-4977-1265-1A3D-D94DC686357F}"/>
          </ac:spMkLst>
        </pc:spChg>
        <pc:spChg chg="mod">
          <ac:chgData name="Zeyda Belinda Alfaro Alva" userId="S::zalfaroa@palmas.com.pe::bd6668ce-fb96-4a77-ac3c-626e84c606bf" providerId="AD" clId="Web-{00F9E407-463D-4E96-BF8C-C31412E83CC3}" dt="2024-05-15T22:39:20.421" v="1" actId="1076"/>
          <ac:spMkLst>
            <pc:docMk/>
            <pc:sldMk cId="649892551" sldId="2147310016"/>
            <ac:spMk id="20" creationId="{AC6B803E-94E0-35E0-B51B-07C00C789ADB}"/>
          </ac:spMkLst>
        </pc:spChg>
        <pc:spChg chg="mod">
          <ac:chgData name="Zeyda Belinda Alfaro Alva" userId="S::zalfaroa@palmas.com.pe::bd6668ce-fb96-4a77-ac3c-626e84c606bf" providerId="AD" clId="Web-{00F9E407-463D-4E96-BF8C-C31412E83CC3}" dt="2024-05-15T22:39:12.311" v="0" actId="1076"/>
          <ac:spMkLst>
            <pc:docMk/>
            <pc:sldMk cId="649892551" sldId="2147310016"/>
            <ac:spMk id="22" creationId="{2CE931B5-3748-DDDE-60AA-2F9C04678BCA}"/>
          </ac:spMkLst>
        </pc:spChg>
        <pc:spChg chg="mod">
          <ac:chgData name="Zeyda Belinda Alfaro Alva" userId="S::zalfaroa@palmas.com.pe::bd6668ce-fb96-4a77-ac3c-626e84c606bf" providerId="AD" clId="Web-{00F9E407-463D-4E96-BF8C-C31412E83CC3}" dt="2024-05-15T22:39:25.297" v="2" actId="1076"/>
          <ac:spMkLst>
            <pc:docMk/>
            <pc:sldMk cId="649892551" sldId="2147310016"/>
            <ac:spMk id="30" creationId="{464DA85C-B417-70D8-A89B-2B69AB01AAF1}"/>
          </ac:spMkLst>
        </pc:spChg>
      </pc:sldChg>
    </pc:docChg>
  </pc:docChgLst>
  <pc:docChgLst>
    <pc:chgData name="Fernando Enrique Nuñez Zapata" userId="4887fb29-3871-42a7-b0aa-ea8d45a5c181" providerId="ADAL" clId="{37C96D54-16B4-44B1-B164-EE26854F9527}"/>
    <pc:docChg chg="undo redo custSel addSld delSld modSld modSection">
      <pc:chgData name="Fernando Enrique Nuñez Zapata" userId="4887fb29-3871-42a7-b0aa-ea8d45a5c181" providerId="ADAL" clId="{37C96D54-16B4-44B1-B164-EE26854F9527}" dt="2024-05-16T16:07:06.910" v="1574"/>
      <pc:docMkLst>
        <pc:docMk/>
      </pc:docMkLst>
      <pc:sldChg chg="modSp del mod">
        <pc:chgData name="Fernando Enrique Nuñez Zapata" userId="4887fb29-3871-42a7-b0aa-ea8d45a5c181" providerId="ADAL" clId="{37C96D54-16B4-44B1-B164-EE26854F9527}" dt="2024-05-14T20:19:40.893" v="840" actId="47"/>
        <pc:sldMkLst>
          <pc:docMk/>
          <pc:sldMk cId="2708129328" sldId="2147310004"/>
        </pc:sldMkLst>
        <pc:spChg chg="mod">
          <ac:chgData name="Fernando Enrique Nuñez Zapata" userId="4887fb29-3871-42a7-b0aa-ea8d45a5c181" providerId="ADAL" clId="{37C96D54-16B4-44B1-B164-EE26854F9527}" dt="2024-05-14T19:36:48.609" v="478" actId="20577"/>
          <ac:spMkLst>
            <pc:docMk/>
            <pc:sldMk cId="2708129328" sldId="2147310004"/>
            <ac:spMk id="52" creationId="{C8FB4903-0BB1-5810-5560-625DD68FEDC7}"/>
          </ac:spMkLst>
        </pc:spChg>
        <pc:spChg chg="mod">
          <ac:chgData name="Fernando Enrique Nuñez Zapata" userId="4887fb29-3871-42a7-b0aa-ea8d45a5c181" providerId="ADAL" clId="{37C96D54-16B4-44B1-B164-EE26854F9527}" dt="2024-05-14T19:47:55.051" v="481" actId="108"/>
          <ac:spMkLst>
            <pc:docMk/>
            <pc:sldMk cId="2708129328" sldId="2147310004"/>
            <ac:spMk id="68" creationId="{21DD3031-DAD9-70BD-F344-A7FE04397462}"/>
          </ac:spMkLst>
        </pc:spChg>
        <pc:spChg chg="mod">
          <ac:chgData name="Fernando Enrique Nuñez Zapata" userId="4887fb29-3871-42a7-b0aa-ea8d45a5c181" providerId="ADAL" clId="{37C96D54-16B4-44B1-B164-EE26854F9527}" dt="2024-05-14T19:47:40.555" v="479" actId="108"/>
          <ac:spMkLst>
            <pc:docMk/>
            <pc:sldMk cId="2708129328" sldId="2147310004"/>
            <ac:spMk id="69" creationId="{FF4C3646-946C-4F3B-B340-9FDD61DAB838}"/>
          </ac:spMkLst>
        </pc:spChg>
        <pc:spChg chg="mod">
          <ac:chgData name="Fernando Enrique Nuñez Zapata" userId="4887fb29-3871-42a7-b0aa-ea8d45a5c181" providerId="ADAL" clId="{37C96D54-16B4-44B1-B164-EE26854F9527}" dt="2024-05-14T19:47:57.558" v="482" actId="108"/>
          <ac:spMkLst>
            <pc:docMk/>
            <pc:sldMk cId="2708129328" sldId="2147310004"/>
            <ac:spMk id="80" creationId="{3B4B5569-8A96-E1A7-835A-119F6661426C}"/>
          </ac:spMkLst>
        </pc:spChg>
        <pc:spChg chg="mod">
          <ac:chgData name="Fernando Enrique Nuñez Zapata" userId="4887fb29-3871-42a7-b0aa-ea8d45a5c181" providerId="ADAL" clId="{37C96D54-16B4-44B1-B164-EE26854F9527}" dt="2024-05-14T19:47:52.717" v="480" actId="108"/>
          <ac:spMkLst>
            <pc:docMk/>
            <pc:sldMk cId="2708129328" sldId="2147310004"/>
            <ac:spMk id="82" creationId="{F086724A-8BE1-D3DF-6507-345B4EE956AB}"/>
          </ac:spMkLst>
        </pc:spChg>
        <pc:graphicFrameChg chg="modGraphic">
          <ac:chgData name="Fernando Enrique Nuñez Zapata" userId="4887fb29-3871-42a7-b0aa-ea8d45a5c181" providerId="ADAL" clId="{37C96D54-16B4-44B1-B164-EE26854F9527}" dt="2024-05-14T20:03:08.651" v="500" actId="20577"/>
          <ac:graphicFrameMkLst>
            <pc:docMk/>
            <pc:sldMk cId="2708129328" sldId="2147310004"/>
            <ac:graphicFrameMk id="22" creationId="{0CF90B55-9125-829B-1706-2CC9981707E1}"/>
          </ac:graphicFrameMkLst>
        </pc:graphicFrameChg>
      </pc:sldChg>
      <pc:sldChg chg="addSp delSp modSp mod delAnim modAnim">
        <pc:chgData name="Fernando Enrique Nuñez Zapata" userId="4887fb29-3871-42a7-b0aa-ea8d45a5c181" providerId="ADAL" clId="{37C96D54-16B4-44B1-B164-EE26854F9527}" dt="2024-05-16T16:00:41.445" v="1564"/>
        <pc:sldMkLst>
          <pc:docMk/>
          <pc:sldMk cId="3859250616" sldId="2147310010"/>
        </pc:sldMkLst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" creationId="{0182EDF5-DDEA-3F6D-C2B3-4F1327A7A6E6}"/>
          </ac:spMkLst>
        </pc:spChg>
        <pc:spChg chg="mod">
          <ac:chgData name="Fernando Enrique Nuñez Zapata" userId="4887fb29-3871-42a7-b0aa-ea8d45a5c181" providerId="ADAL" clId="{37C96D54-16B4-44B1-B164-EE26854F9527}" dt="2024-05-16T15:01:10.310" v="1200" actId="1038"/>
          <ac:spMkLst>
            <pc:docMk/>
            <pc:sldMk cId="3859250616" sldId="2147310010"/>
            <ac:spMk id="4" creationId="{7067248C-D7BB-C184-7999-60D7ACA0B5A6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9" creationId="{757E8BCF-BEC6-C16A-4D45-F0B1F8760009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1" creationId="{1E5F7FC1-527F-12F9-BD0F-77F45955EF77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2" creationId="{CB008EDC-CC8C-5B8D-C7EE-8C37A604E01E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3" creationId="{7660E108-22D2-EC3C-F4ED-8599B8B3102B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5" creationId="{924CA5EA-7685-DFED-EE3D-ACF4606B6472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6" creationId="{5493FF69-9DB8-B305-E328-C11388B12633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7" creationId="{A1CEF2E4-B90F-F4EA-0D0E-78311FE31584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18" creationId="{6EBD0D6D-50FE-B4C9-6926-1E15C035134F}"/>
          </ac:spMkLst>
        </pc:spChg>
        <pc:spChg chg="mod">
          <ac:chgData name="Fernando Enrique Nuñez Zapata" userId="4887fb29-3871-42a7-b0aa-ea8d45a5c181" providerId="ADAL" clId="{37C96D54-16B4-44B1-B164-EE26854F9527}" dt="2024-05-16T15:02:39.989" v="1221" actId="1038"/>
          <ac:spMkLst>
            <pc:docMk/>
            <pc:sldMk cId="3859250616" sldId="2147310010"/>
            <ac:spMk id="20" creationId="{0024B762-D114-F046-5A8A-9FD72FB66685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3" creationId="{5243FDF5-17C1-294A-3143-54B8B1C6171C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5" creationId="{E23185D0-9350-35F1-E8CD-0D99280751E0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6" creationId="{D84DA23B-C052-B0B2-2618-45EDBE98BEE5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8" creationId="{FB091E6F-E898-AB75-6FA9-91B32C01943A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29" creationId="{9BA19072-525D-A09B-CB62-E81CDC4C1BF1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1" creationId="{5E86C657-67E1-DE11-9FD8-34CD5F7D4043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2" creationId="{4BB7B52C-D9D9-5086-5BA0-11B878016D11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4" creationId="{62225B2F-8A93-7EB9-4CDF-BE68A3373E93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5" creationId="{7B7B0122-880B-71CD-E694-3D5869471C0C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6" creationId="{3F893F88-646C-5D4B-8C0B-32887E1676A8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7" creationId="{6552515D-C06D-33F7-3CF9-0DB1FC8180B4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8" creationId="{72490DE1-31E3-BAB9-7141-8FB9E4F3D742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39" creationId="{7C9D93C6-C602-2331-1AF7-00F7A318B9A8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0" creationId="{090224F8-8495-93FC-EEDA-AD3F9F65F3FB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3" creationId="{521FBE92-E6D2-0545-69BB-E3FC08E46A6C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4" creationId="{1E313520-3628-E187-1282-5C4AA0486CDE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5" creationId="{47D43CEE-CCC3-1D50-B7E4-20476A3530B0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46" creationId="{09978572-8D36-4EA0-3E65-25FDC305DD6B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50" creationId="{A3DCA953-C75A-8A95-F425-996642BFA7A3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58" creationId="{0E6F3DA9-B4DB-E3F5-B21C-750CABC0C9E8}"/>
          </ac:spMkLst>
        </pc:spChg>
        <pc:spChg chg="add mod">
          <ac:chgData name="Fernando Enrique Nuñez Zapata" userId="4887fb29-3871-42a7-b0aa-ea8d45a5c181" providerId="ADAL" clId="{37C96D54-16B4-44B1-B164-EE26854F9527}" dt="2024-05-14T16:38:03.360" v="62" actId="554"/>
          <ac:spMkLst>
            <pc:docMk/>
            <pc:sldMk cId="3859250616" sldId="2147310010"/>
            <ac:spMk id="59" creationId="{667936E1-3F04-05DA-B553-2A1990C5524F}"/>
          </ac:spMkLst>
        </pc:spChg>
        <pc:spChg chg="mod">
          <ac:chgData name="Fernando Enrique Nuñez Zapata" userId="4887fb29-3871-42a7-b0aa-ea8d45a5c181" providerId="ADAL" clId="{37C96D54-16B4-44B1-B164-EE26854F9527}" dt="2024-05-14T16:41:42.003" v="105" actId="1037"/>
          <ac:spMkLst>
            <pc:docMk/>
            <pc:sldMk cId="3859250616" sldId="2147310010"/>
            <ac:spMk id="60" creationId="{D1C9BB9F-7163-6A6D-D663-9DD40E616033}"/>
          </ac:spMkLst>
        </pc:spChg>
        <pc:spChg chg="del mod">
          <ac:chgData name="Fernando Enrique Nuñez Zapata" userId="4887fb29-3871-42a7-b0aa-ea8d45a5c181" providerId="ADAL" clId="{37C96D54-16B4-44B1-B164-EE26854F9527}" dt="2024-05-14T19:21:30.501" v="434" actId="478"/>
          <ac:spMkLst>
            <pc:docMk/>
            <pc:sldMk cId="3859250616" sldId="2147310010"/>
            <ac:spMk id="62" creationId="{D036826E-60FC-D1B2-C6EE-6162A4B42857}"/>
          </ac:spMkLst>
        </pc:spChg>
        <pc:spChg chg="del mod">
          <ac:chgData name="Fernando Enrique Nuñez Zapata" userId="4887fb29-3871-42a7-b0aa-ea8d45a5c181" providerId="ADAL" clId="{37C96D54-16B4-44B1-B164-EE26854F9527}" dt="2024-05-14T19:21:32.084" v="435" actId="478"/>
          <ac:spMkLst>
            <pc:docMk/>
            <pc:sldMk cId="3859250616" sldId="2147310010"/>
            <ac:spMk id="63" creationId="{8023E328-D345-37FF-303E-A1644596871C}"/>
          </ac:spMkLst>
        </pc:spChg>
        <pc:spChg chg="add mod">
          <ac:chgData name="Fernando Enrique Nuñez Zapata" userId="4887fb29-3871-42a7-b0aa-ea8d45a5c181" providerId="ADAL" clId="{37C96D54-16B4-44B1-B164-EE26854F9527}" dt="2024-05-14T16:38:03.360" v="62" actId="554"/>
          <ac:spMkLst>
            <pc:docMk/>
            <pc:sldMk cId="3859250616" sldId="2147310010"/>
            <ac:spMk id="65" creationId="{0EE63221-16CE-5BA8-3DD9-0A966B0BD315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66" creationId="{3E20DA86-BC42-6C0C-EA25-6A4AE1BF7F57}"/>
          </ac:spMkLst>
        </pc:spChg>
        <pc:spChg chg="add mod">
          <ac:chgData name="Fernando Enrique Nuñez Zapata" userId="4887fb29-3871-42a7-b0aa-ea8d45a5c181" providerId="ADAL" clId="{37C96D54-16B4-44B1-B164-EE26854F9527}" dt="2024-05-14T16:38:29.665" v="66" actId="1035"/>
          <ac:spMkLst>
            <pc:docMk/>
            <pc:sldMk cId="3859250616" sldId="2147310010"/>
            <ac:spMk id="67" creationId="{8DAD2416-E7C4-187C-AEAC-2E50A94F205A}"/>
          </ac:spMkLst>
        </pc:spChg>
        <pc:spChg chg="add mod">
          <ac:chgData name="Fernando Enrique Nuñez Zapata" userId="4887fb29-3871-42a7-b0aa-ea8d45a5c181" providerId="ADAL" clId="{37C96D54-16B4-44B1-B164-EE26854F9527}" dt="2024-05-14T16:38:29.665" v="66" actId="1035"/>
          <ac:spMkLst>
            <pc:docMk/>
            <pc:sldMk cId="3859250616" sldId="2147310010"/>
            <ac:spMk id="68" creationId="{35009780-6C14-0F34-C2E1-38D4CB52CBB7}"/>
          </ac:spMkLst>
        </pc:spChg>
        <pc:spChg chg="add mod">
          <ac:chgData name="Fernando Enrique Nuñez Zapata" userId="4887fb29-3871-42a7-b0aa-ea8d45a5c181" providerId="ADAL" clId="{37C96D54-16B4-44B1-B164-EE26854F9527}" dt="2024-05-14T16:38:18.612" v="64" actId="554"/>
          <ac:spMkLst>
            <pc:docMk/>
            <pc:sldMk cId="3859250616" sldId="2147310010"/>
            <ac:spMk id="69" creationId="{B6953DDC-224B-B334-2383-B658DE1B3A88}"/>
          </ac:spMkLst>
        </pc:spChg>
        <pc:spChg chg="add mod">
          <ac:chgData name="Fernando Enrique Nuñez Zapata" userId="4887fb29-3871-42a7-b0aa-ea8d45a5c181" providerId="ADAL" clId="{37C96D54-16B4-44B1-B164-EE26854F9527}" dt="2024-05-14T16:38:18.612" v="64" actId="554"/>
          <ac:spMkLst>
            <pc:docMk/>
            <pc:sldMk cId="3859250616" sldId="2147310010"/>
            <ac:spMk id="70" creationId="{0E668DE1-C9AE-A4F0-1D61-0E9A3F3E0505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71" creationId="{404192C1-24EC-A199-848F-7F12BAB1B848}"/>
          </ac:spMkLst>
        </pc:spChg>
        <pc:spChg chg="add mod">
          <ac:chgData name="Fernando Enrique Nuñez Zapata" userId="4887fb29-3871-42a7-b0aa-ea8d45a5c181" providerId="ADAL" clId="{37C96D54-16B4-44B1-B164-EE26854F9527}" dt="2024-05-14T16:38:41.202" v="68" actId="1035"/>
          <ac:spMkLst>
            <pc:docMk/>
            <pc:sldMk cId="3859250616" sldId="2147310010"/>
            <ac:spMk id="73" creationId="{8E9CD403-8AF3-1E01-6C97-064567A7E8CA}"/>
          </ac:spMkLst>
        </pc:spChg>
        <pc:spChg chg="add mod">
          <ac:chgData name="Fernando Enrique Nuñez Zapata" userId="4887fb29-3871-42a7-b0aa-ea8d45a5c181" providerId="ADAL" clId="{37C96D54-16B4-44B1-B164-EE26854F9527}" dt="2024-05-14T16:38:41.202" v="68" actId="1035"/>
          <ac:spMkLst>
            <pc:docMk/>
            <pc:sldMk cId="3859250616" sldId="2147310010"/>
            <ac:spMk id="75" creationId="{7CB7980B-6CB0-E235-409B-660CD560F719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77" creationId="{245E61F0-4C5E-FD9C-54A8-12E713242B48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78" creationId="{3A10EE55-261E-32E9-73CF-EEF6DC83917E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79" creationId="{FE815901-34C6-D913-B767-C9709E16C902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80" creationId="{4EB8874F-8C49-D4C6-53F0-28C4955840D2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81" creationId="{207DD122-FD60-4275-A885-62FB732D81AC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82" creationId="{F80030DE-F906-7D96-BF49-3788FFDED37D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83" creationId="{463BF52D-DBBC-C2CE-AE1B-4BE86219B783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85" creationId="{34E09F77-F650-F45E-2985-35710D6D26C1}"/>
          </ac:spMkLst>
        </pc:spChg>
        <pc:spChg chg="add mod">
          <ac:chgData name="Fernando Enrique Nuñez Zapata" userId="4887fb29-3871-42a7-b0aa-ea8d45a5c181" providerId="ADAL" clId="{37C96D54-16B4-44B1-B164-EE26854F9527}" dt="2024-05-14T16:31:12.150" v="1"/>
          <ac:spMkLst>
            <pc:docMk/>
            <pc:sldMk cId="3859250616" sldId="2147310010"/>
            <ac:spMk id="87" creationId="{0E75F4E3-95E5-FC55-C163-6D27D0CAEEA8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89" creationId="{503C8415-4F87-80F7-3708-1333BC2D28D2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90" creationId="{776C82F3-D27D-8B75-942E-2F0CB4952FF5}"/>
          </ac:spMkLst>
        </pc:spChg>
        <pc:spChg chg="del">
          <ac:chgData name="Fernando Enrique Nuñez Zapata" userId="4887fb29-3871-42a7-b0aa-ea8d45a5c181" providerId="ADAL" clId="{37C96D54-16B4-44B1-B164-EE26854F9527}" dt="2024-05-14T16:31:04.818" v="0" actId="478"/>
          <ac:spMkLst>
            <pc:docMk/>
            <pc:sldMk cId="3859250616" sldId="2147310010"/>
            <ac:spMk id="91" creationId="{9AB0BC07-38DE-A3A6-541D-A1DDE42FC3F3}"/>
          </ac:spMkLst>
        </pc:spChg>
        <pc:spChg chg="add mod">
          <ac:chgData name="Fernando Enrique Nuñez Zapata" userId="4887fb29-3871-42a7-b0aa-ea8d45a5c181" providerId="ADAL" clId="{37C96D54-16B4-44B1-B164-EE26854F9527}" dt="2024-05-14T16:38:03.360" v="62" actId="554"/>
          <ac:spMkLst>
            <pc:docMk/>
            <pc:sldMk cId="3859250616" sldId="2147310010"/>
            <ac:spMk id="92" creationId="{69843EF1-3C9A-EDBF-56D3-DECF4A70FD20}"/>
          </ac:spMkLst>
        </pc:spChg>
        <pc:spChg chg="add mod">
          <ac:chgData name="Fernando Enrique Nuñez Zapata" userId="4887fb29-3871-42a7-b0aa-ea8d45a5c181" providerId="ADAL" clId="{37C96D54-16B4-44B1-B164-EE26854F9527}" dt="2024-05-14T16:38:29.665" v="66" actId="1035"/>
          <ac:spMkLst>
            <pc:docMk/>
            <pc:sldMk cId="3859250616" sldId="2147310010"/>
            <ac:spMk id="93" creationId="{5296174C-8B61-8F62-D285-241FDF393FA8}"/>
          </ac:spMkLst>
        </pc:spChg>
        <pc:spChg chg="add mod">
          <ac:chgData name="Fernando Enrique Nuñez Zapata" userId="4887fb29-3871-42a7-b0aa-ea8d45a5c181" providerId="ADAL" clId="{37C96D54-16B4-44B1-B164-EE26854F9527}" dt="2024-05-14T16:38:18.612" v="64" actId="554"/>
          <ac:spMkLst>
            <pc:docMk/>
            <pc:sldMk cId="3859250616" sldId="2147310010"/>
            <ac:spMk id="94" creationId="{D2815F2D-8C6D-99ED-0FCF-40021077CC1E}"/>
          </ac:spMkLst>
        </pc:spChg>
        <pc:spChg chg="add mod">
          <ac:chgData name="Fernando Enrique Nuñez Zapata" userId="4887fb29-3871-42a7-b0aa-ea8d45a5c181" providerId="ADAL" clId="{37C96D54-16B4-44B1-B164-EE26854F9527}" dt="2024-05-14T16:38:41.202" v="68" actId="1035"/>
          <ac:spMkLst>
            <pc:docMk/>
            <pc:sldMk cId="3859250616" sldId="2147310010"/>
            <ac:spMk id="96" creationId="{7C0B36A2-CFBD-504A-BB76-1EA7FBA3070C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97" creationId="{C34835E9-31AE-0C18-D83B-EF2C529D9012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98" creationId="{BE737E11-EC35-1861-ADED-6F400DCB659E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00" creationId="{9A150EA0-67B3-D3A8-FE1D-BE2055E5D6BF}"/>
          </ac:spMkLst>
        </pc:spChg>
        <pc:spChg chg="mod">
          <ac:chgData name="Fernando Enrique Nuñez Zapata" userId="4887fb29-3871-42a7-b0aa-ea8d45a5c181" providerId="ADAL" clId="{37C96D54-16B4-44B1-B164-EE26854F9527}" dt="2024-05-16T15:02:39.989" v="1221" actId="1038"/>
          <ac:spMkLst>
            <pc:docMk/>
            <pc:sldMk cId="3859250616" sldId="2147310010"/>
            <ac:spMk id="101" creationId="{F56E5407-E8CF-1457-A0E3-B6C96658378F}"/>
          </ac:spMkLst>
        </pc:spChg>
        <pc:spChg chg="add mod">
          <ac:chgData name="Fernando Enrique Nuñez Zapata" userId="4887fb29-3871-42a7-b0aa-ea8d45a5c181" providerId="ADAL" clId="{37C96D54-16B4-44B1-B164-EE26854F9527}" dt="2024-05-14T19:25:42.666" v="442" actId="554"/>
          <ac:spMkLst>
            <pc:docMk/>
            <pc:sldMk cId="3859250616" sldId="2147310010"/>
            <ac:spMk id="103" creationId="{1EACA632-D51B-721A-5CD5-9FC0C90B8315}"/>
          </ac:spMkLst>
        </pc:spChg>
        <pc:spChg chg="mod">
          <ac:chgData name="Fernando Enrique Nuñez Zapata" userId="4887fb29-3871-42a7-b0aa-ea8d45a5c181" providerId="ADAL" clId="{37C96D54-16B4-44B1-B164-EE26854F9527}" dt="2024-05-16T15:02:39.989" v="1221" actId="1038"/>
          <ac:spMkLst>
            <pc:docMk/>
            <pc:sldMk cId="3859250616" sldId="2147310010"/>
            <ac:spMk id="105" creationId="{73D40486-DE55-3DA7-2940-6686DB4563A5}"/>
          </ac:spMkLst>
        </pc:spChg>
        <pc:spChg chg="add mod">
          <ac:chgData name="Fernando Enrique Nuñez Zapata" userId="4887fb29-3871-42a7-b0aa-ea8d45a5c181" providerId="ADAL" clId="{37C96D54-16B4-44B1-B164-EE26854F9527}" dt="2024-05-14T19:25:42.666" v="442" actId="554"/>
          <ac:spMkLst>
            <pc:docMk/>
            <pc:sldMk cId="3859250616" sldId="2147310010"/>
            <ac:spMk id="107" creationId="{9E9AE0FF-C3BF-7407-78E4-33D89378EE69}"/>
          </ac:spMkLst>
        </pc:spChg>
        <pc:spChg chg="add mod">
          <ac:chgData name="Fernando Enrique Nuñez Zapata" userId="4887fb29-3871-42a7-b0aa-ea8d45a5c181" providerId="ADAL" clId="{37C96D54-16B4-44B1-B164-EE26854F9527}" dt="2024-05-14T19:25:42.666" v="442" actId="554"/>
          <ac:spMkLst>
            <pc:docMk/>
            <pc:sldMk cId="3859250616" sldId="2147310010"/>
            <ac:spMk id="108" creationId="{398EFD49-AF7F-F47B-C087-9EC7B69D5F90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114" creationId="{78C05AE1-1540-0069-349F-28DEC8B1CFB5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115" creationId="{7A577E8D-3FA6-AE12-0EAC-7FF5F62594C0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16" creationId="{7F4C70FC-6341-60F6-6430-036965D7440C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117" creationId="{EE14DDD1-BB76-7FD5-646A-6476274A34F5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118" creationId="{346193BA-CFC6-AF93-D80F-D354ABC15D8C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19" creationId="{4452A796-EFDA-3F95-082A-EF1DE9B88C82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120" creationId="{17AEAC3F-8F13-81E8-DF47-13EEEE4875D8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121" creationId="{E13BA966-8BCB-1DBF-56B5-68BD719CF1BF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27" creationId="{9DE9ABF5-0A88-E65E-84AF-F5675C30BA3B}"/>
          </ac:spMkLst>
        </pc:spChg>
        <pc:spChg chg="add mod">
          <ac:chgData name="Fernando Enrique Nuñez Zapata" userId="4887fb29-3871-42a7-b0aa-ea8d45a5c181" providerId="ADAL" clId="{37C96D54-16B4-44B1-B164-EE26854F9527}" dt="2024-05-14T16:36:44.685" v="61" actId="1037"/>
          <ac:spMkLst>
            <pc:docMk/>
            <pc:sldMk cId="3859250616" sldId="2147310010"/>
            <ac:spMk id="131" creationId="{E939B028-8F72-61EC-7C10-21F3F2AFEF07}"/>
          </ac:spMkLst>
        </pc:spChg>
        <pc:spChg chg="add mod">
          <ac:chgData name="Fernando Enrique Nuñez Zapata" userId="4887fb29-3871-42a7-b0aa-ea8d45a5c181" providerId="ADAL" clId="{37C96D54-16B4-44B1-B164-EE26854F9527}" dt="2024-05-14T16:35:23.456" v="51" actId="1038"/>
          <ac:spMkLst>
            <pc:docMk/>
            <pc:sldMk cId="3859250616" sldId="2147310010"/>
            <ac:spMk id="132" creationId="{07828F8B-5380-5CE0-F41E-1CFC0EB5FCC9}"/>
          </ac:spMkLst>
        </pc:spChg>
        <pc:spChg chg="add mod">
          <ac:chgData name="Fernando Enrique Nuñez Zapata" userId="4887fb29-3871-42a7-b0aa-ea8d45a5c181" providerId="ADAL" clId="{37C96D54-16B4-44B1-B164-EE26854F9527}" dt="2024-05-14T16:36:32.893" v="59" actId="1038"/>
          <ac:spMkLst>
            <pc:docMk/>
            <pc:sldMk cId="3859250616" sldId="2147310010"/>
            <ac:spMk id="133" creationId="{53D4628D-A70C-2A2E-3D8A-C5A2470F57A4}"/>
          </ac:spMkLst>
        </pc:spChg>
        <pc:spChg chg="add mod">
          <ac:chgData name="Fernando Enrique Nuñez Zapata" userId="4887fb29-3871-42a7-b0aa-ea8d45a5c181" providerId="ADAL" clId="{37C96D54-16B4-44B1-B164-EE26854F9527}" dt="2024-05-14T16:48:10.113" v="119" actId="1037"/>
          <ac:spMkLst>
            <pc:docMk/>
            <pc:sldMk cId="3859250616" sldId="2147310010"/>
            <ac:spMk id="135" creationId="{968EB8EF-FD63-2441-6962-95572CDAC0FC}"/>
          </ac:spMkLst>
        </pc:spChg>
        <pc:spChg chg="add mod">
          <ac:chgData name="Fernando Enrique Nuñez Zapata" userId="4887fb29-3871-42a7-b0aa-ea8d45a5c181" providerId="ADAL" clId="{37C96D54-16B4-44B1-B164-EE26854F9527}" dt="2024-05-14T16:48:10.113" v="119" actId="1037"/>
          <ac:spMkLst>
            <pc:docMk/>
            <pc:sldMk cId="3859250616" sldId="2147310010"/>
            <ac:spMk id="136" creationId="{1C7A890B-12BD-B70C-5983-C79C43A5B13D}"/>
          </ac:spMkLst>
        </pc:spChg>
        <pc:spChg chg="add mod">
          <ac:chgData name="Fernando Enrique Nuñez Zapata" userId="4887fb29-3871-42a7-b0aa-ea8d45a5c181" providerId="ADAL" clId="{37C96D54-16B4-44B1-B164-EE26854F9527}" dt="2024-05-14T16:48:10.113" v="119" actId="1037"/>
          <ac:spMkLst>
            <pc:docMk/>
            <pc:sldMk cId="3859250616" sldId="2147310010"/>
            <ac:spMk id="137" creationId="{51B3DD82-D692-4291-BFE6-1B5DCF9F4E73}"/>
          </ac:spMkLst>
        </pc:spChg>
        <pc:spChg chg="add mod">
          <ac:chgData name="Fernando Enrique Nuñez Zapata" userId="4887fb29-3871-42a7-b0aa-ea8d45a5c181" providerId="ADAL" clId="{37C96D54-16B4-44B1-B164-EE26854F9527}" dt="2024-05-14T19:21:04.110" v="433" actId="108"/>
          <ac:spMkLst>
            <pc:docMk/>
            <pc:sldMk cId="3859250616" sldId="2147310010"/>
            <ac:spMk id="138" creationId="{FE3EBEEF-DFA1-D9B2-E69E-DBE95FC5780F}"/>
          </ac:spMkLst>
        </pc:spChg>
        <pc:spChg chg="add mod">
          <ac:chgData name="Fernando Enrique Nuñez Zapata" userId="4887fb29-3871-42a7-b0aa-ea8d45a5c181" providerId="ADAL" clId="{37C96D54-16B4-44B1-B164-EE26854F9527}" dt="2024-05-14T16:55:48.032" v="121" actId="1076"/>
          <ac:spMkLst>
            <pc:docMk/>
            <pc:sldMk cId="3859250616" sldId="2147310010"/>
            <ac:spMk id="139" creationId="{0C6471C8-C9EE-74B6-D851-19F1ED71915E}"/>
          </ac:spMkLst>
        </pc:spChg>
        <pc:spChg chg="add mod">
          <ac:chgData name="Fernando Enrique Nuñez Zapata" userId="4887fb29-3871-42a7-b0aa-ea8d45a5c181" providerId="ADAL" clId="{37C96D54-16B4-44B1-B164-EE26854F9527}" dt="2024-05-14T16:55:48.032" v="121" actId="1076"/>
          <ac:spMkLst>
            <pc:docMk/>
            <pc:sldMk cId="3859250616" sldId="2147310010"/>
            <ac:spMk id="140" creationId="{3BFA4DCD-BD76-A348-70E5-973F6A0F4CAE}"/>
          </ac:spMkLst>
        </pc:spChg>
        <pc:spChg chg="add mod">
          <ac:chgData name="Fernando Enrique Nuñez Zapata" userId="4887fb29-3871-42a7-b0aa-ea8d45a5c181" providerId="ADAL" clId="{37C96D54-16B4-44B1-B164-EE26854F9527}" dt="2024-05-14T16:56:11.209" v="123" actId="1076"/>
          <ac:spMkLst>
            <pc:docMk/>
            <pc:sldMk cId="3859250616" sldId="2147310010"/>
            <ac:spMk id="141" creationId="{607C284F-4727-DBEF-2AE1-4C5A6E213E64}"/>
          </ac:spMkLst>
        </pc:spChg>
        <pc:spChg chg="add mod">
          <ac:chgData name="Fernando Enrique Nuñez Zapata" userId="4887fb29-3871-42a7-b0aa-ea8d45a5c181" providerId="ADAL" clId="{37C96D54-16B4-44B1-B164-EE26854F9527}" dt="2024-05-14T16:56:25.972" v="124" actId="108"/>
          <ac:spMkLst>
            <pc:docMk/>
            <pc:sldMk cId="3859250616" sldId="2147310010"/>
            <ac:spMk id="142" creationId="{C15C414E-A556-3FE8-5766-C1860F840334}"/>
          </ac:spMkLst>
        </pc:spChg>
        <pc:spChg chg="add mod">
          <ac:chgData name="Fernando Enrique Nuñez Zapata" userId="4887fb29-3871-42a7-b0aa-ea8d45a5c181" providerId="ADAL" clId="{37C96D54-16B4-44B1-B164-EE26854F9527}" dt="2024-05-14T16:56:11.209" v="123" actId="1076"/>
          <ac:spMkLst>
            <pc:docMk/>
            <pc:sldMk cId="3859250616" sldId="2147310010"/>
            <ac:spMk id="143" creationId="{76952B1F-5A2A-8254-663F-2701FC31E1A1}"/>
          </ac:spMkLst>
        </pc:spChg>
        <pc:spChg chg="add mod">
          <ac:chgData name="Fernando Enrique Nuñez Zapata" userId="4887fb29-3871-42a7-b0aa-ea8d45a5c181" providerId="ADAL" clId="{37C96D54-16B4-44B1-B164-EE26854F9527}" dt="2024-05-14T16:56:11.209" v="123" actId="1076"/>
          <ac:spMkLst>
            <pc:docMk/>
            <pc:sldMk cId="3859250616" sldId="2147310010"/>
            <ac:spMk id="144" creationId="{A3D54B4A-7BAA-CEBA-55FF-DDB54A7FFF74}"/>
          </ac:spMkLst>
        </pc:spChg>
        <pc:spChg chg="add mod">
          <ac:chgData name="Fernando Enrique Nuñez Zapata" userId="4887fb29-3871-42a7-b0aa-ea8d45a5c181" providerId="ADAL" clId="{37C96D54-16B4-44B1-B164-EE26854F9527}" dt="2024-05-14T19:20:02.559" v="424" actId="1076"/>
          <ac:spMkLst>
            <pc:docMk/>
            <pc:sldMk cId="3859250616" sldId="2147310010"/>
            <ac:spMk id="145" creationId="{8F336E52-F451-9AF9-0BD5-74ADFA29C2D0}"/>
          </ac:spMkLst>
        </pc:spChg>
        <pc:spChg chg="add mod">
          <ac:chgData name="Fernando Enrique Nuñez Zapata" userId="4887fb29-3871-42a7-b0aa-ea8d45a5c181" providerId="ADAL" clId="{37C96D54-16B4-44B1-B164-EE26854F9527}" dt="2024-05-14T19:25:42.666" v="442" actId="554"/>
          <ac:spMkLst>
            <pc:docMk/>
            <pc:sldMk cId="3859250616" sldId="2147310010"/>
            <ac:spMk id="146" creationId="{48966957-2461-FB8D-815A-0EBC034BEF3F}"/>
          </ac:spMkLst>
        </pc:spChg>
        <pc:grpChg chg="mod">
          <ac:chgData name="Fernando Enrique Nuñez Zapata" userId="4887fb29-3871-42a7-b0aa-ea8d45a5c181" providerId="ADAL" clId="{37C96D54-16B4-44B1-B164-EE26854F9527}" dt="2024-05-16T15:02:39.989" v="1221" actId="1038"/>
          <ac:grpSpMkLst>
            <pc:docMk/>
            <pc:sldMk cId="3859250616" sldId="2147310010"/>
            <ac:grpSpMk id="19" creationId="{B63DE317-0B7F-07F3-02DC-C07F39DD420B}"/>
          </ac:grpSpMkLst>
        </pc:grpChg>
        <pc:grpChg chg="mod">
          <ac:chgData name="Fernando Enrique Nuñez Zapata" userId="4887fb29-3871-42a7-b0aa-ea8d45a5c181" providerId="ADAL" clId="{37C96D54-16B4-44B1-B164-EE26854F9527}" dt="2024-05-14T16:40:41.006" v="72" actId="14100"/>
          <ac:grpSpMkLst>
            <pc:docMk/>
            <pc:sldMk cId="3859250616" sldId="2147310010"/>
            <ac:grpSpMk id="56" creationId="{26C36EE6-18F1-C2AF-B99B-694EAD485BC0}"/>
          </ac:grpSpMkLst>
        </pc:grpChg>
        <pc:grpChg chg="mod">
          <ac:chgData name="Fernando Enrique Nuñez Zapata" userId="4887fb29-3871-42a7-b0aa-ea8d45a5c181" providerId="ADAL" clId="{37C96D54-16B4-44B1-B164-EE26854F9527}" dt="2024-05-16T15:02:39.989" v="1221" actId="1038"/>
          <ac:grpSpMkLst>
            <pc:docMk/>
            <pc:sldMk cId="3859250616" sldId="2147310010"/>
            <ac:grpSpMk id="111" creationId="{528DFC98-4198-10D5-8D8E-A5F6039611C8}"/>
          </ac:grpSpMkLst>
        </pc:grpChg>
        <pc:graphicFrameChg chg="mod modGraphic">
          <ac:chgData name="Fernando Enrique Nuñez Zapata" userId="4887fb29-3871-42a7-b0aa-ea8d45a5c181" providerId="ADAL" clId="{37C96D54-16B4-44B1-B164-EE26854F9527}" dt="2024-05-16T15:36:03.257" v="1552" actId="20577"/>
          <ac:graphicFrameMkLst>
            <pc:docMk/>
            <pc:sldMk cId="3859250616" sldId="2147310010"/>
            <ac:graphicFrameMk id="7" creationId="{C8D692CE-C361-E983-E9AF-4FAB4696FD79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14" creationId="{7769D7E9-3C10-8AF6-827F-35BBF6905CB5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30" creationId="{F44A659A-03E2-6AB6-E7DA-F04AFCDAFF10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33" creationId="{BDC101B2-ED77-E281-A5E7-3DF1DC6B5E7D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41" creationId="{4CF19EB1-6B53-88BC-3AD3-34E957F9A87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42" creationId="{DF06844F-3A85-AD17-9491-304085CAA132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58:13.701" v="130" actId="20577"/>
          <ac:graphicFrameMkLst>
            <pc:docMk/>
            <pc:sldMk cId="3859250616" sldId="2147310010"/>
            <ac:graphicFrameMk id="49" creationId="{88FCF8A2-08D8-B125-B8AF-5C065C1F1ADF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09:16.570" v="1245" actId="2062"/>
          <ac:graphicFrameMkLst>
            <pc:docMk/>
            <pc:sldMk cId="3859250616" sldId="2147310010"/>
            <ac:graphicFrameMk id="64" creationId="{49831838-B7CB-E5AF-B290-D7FF6EEEC131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31:51.475" v="3" actId="2162"/>
          <ac:graphicFrameMkLst>
            <pc:docMk/>
            <pc:sldMk cId="3859250616" sldId="2147310010"/>
            <ac:graphicFrameMk id="72" creationId="{4A3A1DD2-0C93-56D8-AB9B-783B736DD38E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07:03.695" v="1233" actId="255"/>
          <ac:graphicFrameMkLst>
            <pc:docMk/>
            <pc:sldMk cId="3859250616" sldId="2147310010"/>
            <ac:graphicFrameMk id="74" creationId="{87F77502-D64F-3351-7D83-382B7F6D8C9E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32:13.201" v="12" actId="2162"/>
          <ac:graphicFrameMkLst>
            <pc:docMk/>
            <pc:sldMk cId="3859250616" sldId="2147310010"/>
            <ac:graphicFrameMk id="76" creationId="{3125FE1B-2FDF-853D-752A-C7EBA35BC40E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33:56.172" v="25" actId="14734"/>
          <ac:graphicFrameMkLst>
            <pc:docMk/>
            <pc:sldMk cId="3859250616" sldId="2147310010"/>
            <ac:graphicFrameMk id="84" creationId="{0E4A6745-5BA5-C2F3-3FC1-BE781AD33559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31:04.818" v="0" actId="478"/>
          <ac:graphicFrameMkLst>
            <pc:docMk/>
            <pc:sldMk cId="3859250616" sldId="2147310010"/>
            <ac:graphicFrameMk id="86" creationId="{03CB68EE-36FB-0EDC-36E2-2186BF0D1B21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20:31:16.342" v="1161" actId="20577"/>
          <ac:graphicFrameMkLst>
            <pc:docMk/>
            <pc:sldMk cId="3859250616" sldId="2147310010"/>
            <ac:graphicFrameMk id="88" creationId="{AD4EB308-7E31-1D22-1686-947331237029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6:32:21.117" v="13" actId="2162"/>
          <ac:graphicFrameMkLst>
            <pc:docMk/>
            <pc:sldMk cId="3859250616" sldId="2147310010"/>
            <ac:graphicFrameMk id="110" creationId="{751A893B-CEB1-72E6-7813-28330BFF72D4}"/>
          </ac:graphicFrameMkLst>
        </pc:graphicFrameChg>
        <pc:cxnChg chg="mod">
          <ac:chgData name="Fernando Enrique Nuñez Zapata" userId="4887fb29-3871-42a7-b0aa-ea8d45a5c181" providerId="ADAL" clId="{37C96D54-16B4-44B1-B164-EE26854F9527}" dt="2024-05-14T16:40:45.434" v="73" actId="14100"/>
          <ac:cxnSpMkLst>
            <pc:docMk/>
            <pc:sldMk cId="3859250616" sldId="2147310010"/>
            <ac:cxnSpMk id="51" creationId="{C206E334-3B8E-C988-A1A2-955D965AC5FD}"/>
          </ac:cxnSpMkLst>
        </pc:cxnChg>
      </pc:sldChg>
      <pc:sldChg chg="addSp delSp modSp mod delAnim">
        <pc:chgData name="Fernando Enrique Nuñez Zapata" userId="4887fb29-3871-42a7-b0aa-ea8d45a5c181" providerId="ADAL" clId="{37C96D54-16B4-44B1-B164-EE26854F9527}" dt="2024-05-16T15:19:37.260" v="1409" actId="20577"/>
        <pc:sldMkLst>
          <pc:docMk/>
          <pc:sldMk cId="659418568" sldId="2147310011"/>
        </pc:sldMkLst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" creationId="{A2C50335-C4CD-1AAE-CFA6-620E2859591D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9" creationId="{AE3BC525-4A76-FA59-641D-E73D2CA80CD2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1" creationId="{BC3AA645-00E6-879B-1E31-1F7BF1C585DF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2" creationId="{CB008EDC-CC8C-5B8D-C7EE-8C37A604E01E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3" creationId="{B491F24F-C910-2E19-5830-22E20D64152C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5" creationId="{19E42785-5A74-48E5-D9FB-C9AE11AD0E10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6" creationId="{FFFF21C3-16E5-B800-1EB5-4CB9104CE0DA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7" creationId="{A1CEF2E4-B90F-F4EA-0D0E-78311FE31584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18" creationId="{6EBD0D6D-50FE-B4C9-6926-1E15C035134F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0" creationId="{39301308-C266-D601-9AD7-FEE02D9BD714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21" creationId="{5B959601-DD31-4729-C9B0-B57914C14169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3" creationId="{5243FDF5-17C1-294A-3143-54B8B1C6171C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5" creationId="{E23185D0-9350-35F1-E8CD-0D99280751E0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6" creationId="{D84DA23B-C052-B0B2-2618-45EDBE98BEE5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27" creationId="{7CF16DB1-945A-B93B-67A6-671788ECD334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8" creationId="{FB091E6F-E898-AB75-6FA9-91B32C01943A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29" creationId="{9BA19072-525D-A09B-CB62-E81CDC4C1BF1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1" creationId="{5E86C657-67E1-DE11-9FD8-34CD5F7D4043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2" creationId="{4BB7B52C-D9D9-5086-5BA0-11B878016D11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4" creationId="{62225B2F-8A93-7EB9-4CDF-BE68A3373E93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5" creationId="{7B7B0122-880B-71CD-E694-3D5869471C0C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6" creationId="{3F893F88-646C-5D4B-8C0B-32887E1676A8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7" creationId="{6552515D-C06D-33F7-3CF9-0DB1FC8180B4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8" creationId="{72490DE1-31E3-BAB9-7141-8FB9E4F3D742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39" creationId="{7C9D93C6-C602-2331-1AF7-00F7A318B9A8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0" creationId="{090224F8-8495-93FC-EEDA-AD3F9F65F3FB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3" creationId="{521FBE92-E6D2-0545-69BB-E3FC08E46A6C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4" creationId="{1E313520-3628-E187-1282-5C4AA0486CDE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5" creationId="{47D43CEE-CCC3-1D50-B7E4-20476A3530B0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6" creationId="{09978572-8D36-4EA0-3E65-25FDC305DD6B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47" creationId="{336438E7-8C7F-A94A-46CA-26BE8F50425F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53" creationId="{FA42AA40-A391-EC6A-40D7-8F46A9ED8DE4}"/>
          </ac:spMkLst>
        </pc:spChg>
        <pc:spChg chg="mod">
          <ac:chgData name="Fernando Enrique Nuñez Zapata" userId="4887fb29-3871-42a7-b0aa-ea8d45a5c181" providerId="ADAL" clId="{37C96D54-16B4-44B1-B164-EE26854F9527}" dt="2024-05-14T17:03:59.431" v="173" actId="1037"/>
          <ac:spMkLst>
            <pc:docMk/>
            <pc:sldMk cId="659418568" sldId="2147310011"/>
            <ac:spMk id="59" creationId="{E0DACF39-BA50-3E5E-CF0E-FDF8526C7BB3}"/>
          </ac:spMkLst>
        </pc:spChg>
        <pc:spChg chg="mod">
          <ac:chgData name="Fernando Enrique Nuñez Zapata" userId="4887fb29-3871-42a7-b0aa-ea8d45a5c181" providerId="ADAL" clId="{37C96D54-16B4-44B1-B164-EE26854F9527}" dt="2024-05-14T17:03:59.431" v="173" actId="1037"/>
          <ac:spMkLst>
            <pc:docMk/>
            <pc:sldMk cId="659418568" sldId="2147310011"/>
            <ac:spMk id="60" creationId="{55B96CF4-057C-BAF4-D262-C61572D2E81A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63" creationId="{26065A7D-295F-2C58-07A4-5C5721FBE8EB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68" creationId="{405AB592-6DC6-454C-61DD-231862A1D818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69" creationId="{2CE55FB3-6E6B-F2B1-A24C-58E9F286C2FD}"/>
          </ac:spMkLst>
        </pc:spChg>
        <pc:spChg chg="mod">
          <ac:chgData name="Fernando Enrique Nuñez Zapata" userId="4887fb29-3871-42a7-b0aa-ea8d45a5c181" providerId="ADAL" clId="{37C96D54-16B4-44B1-B164-EE26854F9527}" dt="2024-05-14T17:03:59.431" v="173" actId="1037"/>
          <ac:spMkLst>
            <pc:docMk/>
            <pc:sldMk cId="659418568" sldId="2147310011"/>
            <ac:spMk id="72" creationId="{56E3CDC5-DB80-FFA1-9927-2DCE423D20E6}"/>
          </ac:spMkLst>
        </pc:spChg>
        <pc:spChg chg="mod">
          <ac:chgData name="Fernando Enrique Nuñez Zapata" userId="4887fb29-3871-42a7-b0aa-ea8d45a5c181" providerId="ADAL" clId="{37C96D54-16B4-44B1-B164-EE26854F9527}" dt="2024-05-16T15:12:58.810" v="1318" actId="1038"/>
          <ac:spMkLst>
            <pc:docMk/>
            <pc:sldMk cId="659418568" sldId="2147310011"/>
            <ac:spMk id="76" creationId="{486AA1EF-B196-9E38-BC04-DFF376C6E289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79" creationId="{18CAE77D-9F4C-5690-BE64-493790ADB180}"/>
          </ac:spMkLst>
        </pc:spChg>
        <pc:spChg chg="add mod">
          <ac:chgData name="Fernando Enrique Nuñez Zapata" userId="4887fb29-3871-42a7-b0aa-ea8d45a5c181" providerId="ADAL" clId="{37C96D54-16B4-44B1-B164-EE26854F9527}" dt="2024-05-14T16:58:52.205" v="134" actId="108"/>
          <ac:spMkLst>
            <pc:docMk/>
            <pc:sldMk cId="659418568" sldId="2147310011"/>
            <ac:spMk id="80" creationId="{7989B36A-C8EB-50DF-A4C3-B714A22B17C1}"/>
          </ac:spMkLst>
        </pc:spChg>
        <pc:spChg chg="add mod">
          <ac:chgData name="Fernando Enrique Nuñez Zapata" userId="4887fb29-3871-42a7-b0aa-ea8d45a5c181" providerId="ADAL" clId="{37C96D54-16B4-44B1-B164-EE26854F9527}" dt="2024-05-14T16:58:58.347" v="136" actId="108"/>
          <ac:spMkLst>
            <pc:docMk/>
            <pc:sldMk cId="659418568" sldId="2147310011"/>
            <ac:spMk id="81" creationId="{32D6D96B-83F9-C7A7-4AD9-5C8AAB376F80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90" creationId="{A810131A-297D-16A2-489A-35E744747E46}"/>
          </ac:spMkLst>
        </pc:spChg>
        <pc:spChg chg="del">
          <ac:chgData name="Fernando Enrique Nuñez Zapata" userId="4887fb29-3871-42a7-b0aa-ea8d45a5c181" providerId="ADAL" clId="{37C96D54-16B4-44B1-B164-EE26854F9527}" dt="2024-05-14T16:57:43.754" v="126" actId="478"/>
          <ac:spMkLst>
            <pc:docMk/>
            <pc:sldMk cId="659418568" sldId="2147310011"/>
            <ac:spMk id="91" creationId="{50115A5C-8C6E-67A2-DCFB-C77277A1E673}"/>
          </ac:spMkLst>
        </pc:spChg>
        <pc:spChg chg="add mod">
          <ac:chgData name="Fernando Enrique Nuñez Zapata" userId="4887fb29-3871-42a7-b0aa-ea8d45a5c181" providerId="ADAL" clId="{37C96D54-16B4-44B1-B164-EE26854F9527}" dt="2024-05-14T16:58:55.658" v="135" actId="108"/>
          <ac:spMkLst>
            <pc:docMk/>
            <pc:sldMk cId="659418568" sldId="2147310011"/>
            <ac:spMk id="92" creationId="{35D83DE9-E835-9350-9005-317FCB861CD9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93" creationId="{6CCBB38C-571E-AC5E-A72C-C05D2551AA7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94" creationId="{E7A3FCF3-6BBC-BF80-225C-04A5803A5773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95" creationId="{9EB732E6-DC28-1E3C-C68E-041F771FD1A8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97" creationId="{5E6C8843-CA66-6700-33EC-F8814D7BE91E}"/>
          </ac:spMkLst>
        </pc:spChg>
        <pc:spChg chg="add mod">
          <ac:chgData name="Fernando Enrique Nuñez Zapata" userId="4887fb29-3871-42a7-b0aa-ea8d45a5c181" providerId="ADAL" clId="{37C96D54-16B4-44B1-B164-EE26854F9527}" dt="2024-05-14T16:59:08.665" v="138" actId="108"/>
          <ac:spMkLst>
            <pc:docMk/>
            <pc:sldMk cId="659418568" sldId="2147310011"/>
            <ac:spMk id="98" creationId="{4932FA58-C1D0-EDEA-A242-29DA6FAA3FD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00" creationId="{2D68554E-D6CD-EE37-7639-086A08242D74}"/>
          </ac:spMkLst>
        </pc:spChg>
        <pc:spChg chg="add mod">
          <ac:chgData name="Fernando Enrique Nuñez Zapata" userId="4887fb29-3871-42a7-b0aa-ea8d45a5c181" providerId="ADAL" clId="{37C96D54-16B4-44B1-B164-EE26854F9527}" dt="2024-05-14T16:59:37.349" v="142" actId="108"/>
          <ac:spMkLst>
            <pc:docMk/>
            <pc:sldMk cId="659418568" sldId="2147310011"/>
            <ac:spMk id="101" creationId="{B102DF52-E9DB-CD4D-3EC2-07577124578D}"/>
          </ac:spMkLst>
        </pc:spChg>
        <pc:spChg chg="add mod">
          <ac:chgData name="Fernando Enrique Nuñez Zapata" userId="4887fb29-3871-42a7-b0aa-ea8d45a5c181" providerId="ADAL" clId="{37C96D54-16B4-44B1-B164-EE26854F9527}" dt="2024-05-14T16:59:23.835" v="140" actId="108"/>
          <ac:spMkLst>
            <pc:docMk/>
            <pc:sldMk cId="659418568" sldId="2147310011"/>
            <ac:spMk id="102" creationId="{BACB77E3-1FED-C042-D56A-E87E4C37556A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03" creationId="{D7C60E1F-274D-A916-E2D4-C84BDC4BDFA8}"/>
          </ac:spMkLst>
        </pc:spChg>
        <pc:spChg chg="add mod">
          <ac:chgData name="Fernando Enrique Nuñez Zapata" userId="4887fb29-3871-42a7-b0aa-ea8d45a5c181" providerId="ADAL" clId="{37C96D54-16B4-44B1-B164-EE26854F9527}" dt="2024-05-14T16:59:18.295" v="139" actId="108"/>
          <ac:spMkLst>
            <pc:docMk/>
            <pc:sldMk cId="659418568" sldId="2147310011"/>
            <ac:spMk id="104" creationId="{C1FF3411-6CE7-F68D-E6E4-79493185DBC3}"/>
          </ac:spMkLst>
        </pc:spChg>
        <pc:spChg chg="add mod">
          <ac:chgData name="Fernando Enrique Nuñez Zapata" userId="4887fb29-3871-42a7-b0aa-ea8d45a5c181" providerId="ADAL" clId="{37C96D54-16B4-44B1-B164-EE26854F9527}" dt="2024-05-14T16:59:28.577" v="141" actId="108"/>
          <ac:spMkLst>
            <pc:docMk/>
            <pc:sldMk cId="659418568" sldId="2147310011"/>
            <ac:spMk id="105" creationId="{688E5E8C-46E5-82E4-F623-04C5E6B6F846}"/>
          </ac:spMkLst>
        </pc:spChg>
        <pc:spChg chg="add mod">
          <ac:chgData name="Fernando Enrique Nuñez Zapata" userId="4887fb29-3871-42a7-b0aa-ea8d45a5c181" providerId="ADAL" clId="{37C96D54-16B4-44B1-B164-EE26854F9527}" dt="2024-05-14T16:59:41.828" v="143" actId="108"/>
          <ac:spMkLst>
            <pc:docMk/>
            <pc:sldMk cId="659418568" sldId="2147310011"/>
            <ac:spMk id="106" creationId="{344303AB-E3EB-0684-326C-3062775A74AD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08" creationId="{F25ECC57-D28A-1EA6-9D1A-20D15FF779D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09" creationId="{CF0574D0-6521-8B55-D03D-8F08A55E0953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1" creationId="{CCAA93CF-C42C-3580-9714-8C1A88C76598}"/>
          </ac:spMkLst>
        </pc:spChg>
        <pc:spChg chg="add mod">
          <ac:chgData name="Fernando Enrique Nuñez Zapata" userId="4887fb29-3871-42a7-b0aa-ea8d45a5c181" providerId="ADAL" clId="{37C96D54-16B4-44B1-B164-EE26854F9527}" dt="2024-05-14T16:59:00.893" v="137" actId="108"/>
          <ac:spMkLst>
            <pc:docMk/>
            <pc:sldMk cId="659418568" sldId="2147310011"/>
            <ac:spMk id="112" creationId="{A97F6191-413B-F9C5-144E-CC39BEC314BA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3" creationId="{2BDB5265-F42B-8386-2481-7B451EFF5CA3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4" creationId="{09C099CC-E701-D04E-9E6B-5BA4C97E1FD9}"/>
          </ac:spMkLst>
        </pc:spChg>
        <pc:spChg chg="add mod">
          <ac:chgData name="Fernando Enrique Nuñez Zapata" userId="4887fb29-3871-42a7-b0aa-ea8d45a5c181" providerId="ADAL" clId="{37C96D54-16B4-44B1-B164-EE26854F9527}" dt="2024-05-14T17:01:05.916" v="144" actId="108"/>
          <ac:spMkLst>
            <pc:docMk/>
            <pc:sldMk cId="659418568" sldId="2147310011"/>
            <ac:spMk id="115" creationId="{A6B7A1C0-E1C3-3520-23B2-76907049E720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6" creationId="{282C32C4-29DF-7944-922C-782971A0F3A3}"/>
          </ac:spMkLst>
        </pc:spChg>
        <pc:spChg chg="add mod">
          <ac:chgData name="Fernando Enrique Nuñez Zapata" userId="4887fb29-3871-42a7-b0aa-ea8d45a5c181" providerId="ADAL" clId="{37C96D54-16B4-44B1-B164-EE26854F9527}" dt="2024-05-14T17:01:10.981" v="145" actId="108"/>
          <ac:spMkLst>
            <pc:docMk/>
            <pc:sldMk cId="659418568" sldId="2147310011"/>
            <ac:spMk id="117" creationId="{AA5CA7BB-40EA-A763-1C05-D3D95E01F42E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8" creationId="{8AAB1D94-C0C6-6FCB-6008-C4FCEB139894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19" creationId="{AC06A936-2599-19FB-4398-06FCF85BBDD5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0" creationId="{F09A544A-7B25-744C-C46D-8A2CC920AEB1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2" creationId="{E89104C0-8DA9-4B6B-FD46-93C7B6A79F2B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3" creationId="{CB7A4622-3CE5-21EB-3C60-EA93803A11D5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4" creationId="{1D524A31-F741-B77C-D591-30714EAA67B9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5" creationId="{96BA60BA-11F0-FAD2-8AE5-6229FC2528A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6" creationId="{33DDF545-5E9C-E071-90EF-E71F24F11E42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27" creationId="{F30A896D-63A8-80B1-8106-D66D4B58FAFA}"/>
          </ac:spMkLst>
        </pc:spChg>
        <pc:spChg chg="add mod">
          <ac:chgData name="Fernando Enrique Nuñez Zapata" userId="4887fb29-3871-42a7-b0aa-ea8d45a5c181" providerId="ADAL" clId="{37C96D54-16B4-44B1-B164-EE26854F9527}" dt="2024-05-14T17:01:25.259" v="147" actId="108"/>
          <ac:spMkLst>
            <pc:docMk/>
            <pc:sldMk cId="659418568" sldId="2147310011"/>
            <ac:spMk id="128" creationId="{BC3588B7-D4AD-7939-E8D5-DD8AFDF8B68F}"/>
          </ac:spMkLst>
        </pc:spChg>
        <pc:spChg chg="add mod">
          <ac:chgData name="Fernando Enrique Nuñez Zapata" userId="4887fb29-3871-42a7-b0aa-ea8d45a5c181" providerId="ADAL" clId="{37C96D54-16B4-44B1-B164-EE26854F9527}" dt="2024-05-14T17:01:21.117" v="146" actId="108"/>
          <ac:spMkLst>
            <pc:docMk/>
            <pc:sldMk cId="659418568" sldId="2147310011"/>
            <ac:spMk id="129" creationId="{79172AFB-947D-2F14-FD80-D3BD378274F0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0" creationId="{7D468A50-A4D3-301B-F6F1-9103304AD106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1" creationId="{F3D95B27-0A00-C45E-6487-1DF2D19C2813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2" creationId="{F7EF4ACC-6BA8-3797-7CD7-EE5E4E4B1231}"/>
          </ac:spMkLst>
        </pc:spChg>
        <pc:spChg chg="add mod">
          <ac:chgData name="Fernando Enrique Nuñez Zapata" userId="4887fb29-3871-42a7-b0aa-ea8d45a5c181" providerId="ADAL" clId="{37C96D54-16B4-44B1-B164-EE26854F9527}" dt="2024-05-14T17:01:31.504" v="148" actId="108"/>
          <ac:spMkLst>
            <pc:docMk/>
            <pc:sldMk cId="659418568" sldId="2147310011"/>
            <ac:spMk id="133" creationId="{22C73346-2927-85C3-6FB4-3AC4D36D8E95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4" creationId="{AE0553DC-195D-83C4-6EB5-E3CF217C162B}"/>
          </ac:spMkLst>
        </pc:spChg>
        <pc:spChg chg="add mod">
          <ac:chgData name="Fernando Enrique Nuñez Zapata" userId="4887fb29-3871-42a7-b0aa-ea8d45a5c181" providerId="ADAL" clId="{37C96D54-16B4-44B1-B164-EE26854F9527}" dt="2024-05-14T17:12:42.205" v="292" actId="108"/>
          <ac:spMkLst>
            <pc:docMk/>
            <pc:sldMk cId="659418568" sldId="2147310011"/>
            <ac:spMk id="135" creationId="{791723BC-FFC8-A1A3-6195-53882D3F9191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6" creationId="{AEE636CB-48BC-55FE-EA1C-10F8E03A035A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7" creationId="{EF425EC8-27A3-71B6-D041-5E5ED63F71DF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38" creationId="{D5378545-754B-ECC6-A33C-9EE1DA6E4382}"/>
          </ac:spMkLst>
        </pc:spChg>
        <pc:spChg chg="add mod">
          <ac:chgData name="Fernando Enrique Nuñez Zapata" userId="4887fb29-3871-42a7-b0aa-ea8d45a5c181" providerId="ADAL" clId="{37C96D54-16B4-44B1-B164-EE26854F9527}" dt="2024-05-14T17:12:54.692" v="293" actId="108"/>
          <ac:spMkLst>
            <pc:docMk/>
            <pc:sldMk cId="659418568" sldId="2147310011"/>
            <ac:spMk id="139" creationId="{67543FA0-4FAC-3D16-12FB-D1FF90AF4104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40" creationId="{4F068F3F-9E76-66BA-4846-4E6B85B8F246}"/>
          </ac:spMkLst>
        </pc:spChg>
        <pc:spChg chg="add mod">
          <ac:chgData name="Fernando Enrique Nuñez Zapata" userId="4887fb29-3871-42a7-b0aa-ea8d45a5c181" providerId="ADAL" clId="{37C96D54-16B4-44B1-B164-EE26854F9527}" dt="2024-05-14T17:13:18.054" v="294" actId="108"/>
          <ac:spMkLst>
            <pc:docMk/>
            <pc:sldMk cId="659418568" sldId="2147310011"/>
            <ac:spMk id="141" creationId="{B6490465-2A9C-18DE-2555-F583944DD3F1}"/>
          </ac:spMkLst>
        </pc:spChg>
        <pc:spChg chg="add mod">
          <ac:chgData name="Fernando Enrique Nuñez Zapata" userId="4887fb29-3871-42a7-b0aa-ea8d45a5c181" providerId="ADAL" clId="{37C96D54-16B4-44B1-B164-EE26854F9527}" dt="2024-05-14T16:57:54.671" v="127"/>
          <ac:spMkLst>
            <pc:docMk/>
            <pc:sldMk cId="659418568" sldId="2147310011"/>
            <ac:spMk id="142" creationId="{1B55DD7C-5AE9-8502-56F1-D6CE08459CCE}"/>
          </ac:spMkLst>
        </pc:spChg>
        <pc:spChg chg="add mod">
          <ac:chgData name="Fernando Enrique Nuñez Zapata" userId="4887fb29-3871-42a7-b0aa-ea8d45a5c181" providerId="ADAL" clId="{37C96D54-16B4-44B1-B164-EE26854F9527}" dt="2024-05-14T17:13:28.258" v="295" actId="108"/>
          <ac:spMkLst>
            <pc:docMk/>
            <pc:sldMk cId="659418568" sldId="2147310011"/>
            <ac:spMk id="143" creationId="{5AE89221-AC48-6439-BB19-2A72F96FC45F}"/>
          </ac:spMkLst>
        </pc:spChg>
        <pc:grpChg chg="mod">
          <ac:chgData name="Fernando Enrique Nuñez Zapata" userId="4887fb29-3871-42a7-b0aa-ea8d45a5c181" providerId="ADAL" clId="{37C96D54-16B4-44B1-B164-EE26854F9527}" dt="2024-05-16T15:12:58.810" v="1318" actId="1038"/>
          <ac:grpSpMkLst>
            <pc:docMk/>
            <pc:sldMk cId="659418568" sldId="2147310011"/>
            <ac:grpSpMk id="15" creationId="{D64C4FA5-BF9B-4CB0-A633-7699FF995123}"/>
          </ac:grpSpMkLst>
        </pc:grpChg>
        <pc:grpChg chg="mod">
          <ac:chgData name="Fernando Enrique Nuñez Zapata" userId="4887fb29-3871-42a7-b0aa-ea8d45a5c181" providerId="ADAL" clId="{37C96D54-16B4-44B1-B164-EE26854F9527}" dt="2024-05-16T15:12:58.810" v="1318" actId="1038"/>
          <ac:grpSpMkLst>
            <pc:docMk/>
            <pc:sldMk cId="659418568" sldId="2147310011"/>
            <ac:grpSpMk id="49" creationId="{E66F7FBF-FECD-E554-AD22-C19BBA805E30}"/>
          </ac:grpSpMkLst>
        </pc:grpChg>
        <pc:grpChg chg="mod">
          <ac:chgData name="Fernando Enrique Nuñez Zapata" userId="4887fb29-3871-42a7-b0aa-ea8d45a5c181" providerId="ADAL" clId="{37C96D54-16B4-44B1-B164-EE26854F9527}" dt="2024-05-16T15:12:16.107" v="1292" actId="1038"/>
          <ac:grpSpMkLst>
            <pc:docMk/>
            <pc:sldMk cId="659418568" sldId="2147310011"/>
            <ac:grpSpMk id="71" creationId="{FF7209EA-C8C0-A718-795F-D3F9E618D4F4}"/>
          </ac:grpSpMkLst>
        </pc:grpChg>
        <pc:graphicFrameChg chg="add mod modGraphic">
          <ac:chgData name="Fernando Enrique Nuñez Zapata" userId="4887fb29-3871-42a7-b0aa-ea8d45a5c181" providerId="ADAL" clId="{37C96D54-16B4-44B1-B164-EE26854F9527}" dt="2024-05-14T16:58:20.247" v="133" actId="20577"/>
          <ac:graphicFrameMkLst>
            <pc:docMk/>
            <pc:sldMk cId="659418568" sldId="2147310011"/>
            <ac:graphicFrameMk id="8" creationId="{269AA73C-52E3-A76D-1E91-03A77131E48B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14" creationId="{7769D7E9-3C10-8AF6-827F-35BBF6905CB5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30" creationId="{F44A659A-03E2-6AB6-E7DA-F04AFCDAFF10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33" creationId="{BDC101B2-ED77-E281-A5E7-3DF1DC6B5E7D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41" creationId="{4CF19EB1-6B53-88BC-3AD3-34E957F9A87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42" creationId="{DF06844F-3A85-AD17-9491-304085CAA132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19:37.260" v="1409" actId="20577"/>
          <ac:graphicFrameMkLst>
            <pc:docMk/>
            <pc:sldMk cId="659418568" sldId="2147310011"/>
            <ac:graphicFrameMk id="61" creationId="{90C5294D-77B0-FF9C-479C-D0F35E605C3A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17:29.370" v="1362" actId="404"/>
          <ac:graphicFrameMkLst>
            <pc:docMk/>
            <pc:sldMk cId="659418568" sldId="2147310011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16:01.288" v="1350" actId="122"/>
          <ac:graphicFrameMkLst>
            <pc:docMk/>
            <pc:sldMk cId="659418568" sldId="2147310011"/>
            <ac:graphicFrameMk id="74" creationId="{87F77502-D64F-3351-7D83-382B7F6D8C9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6:57:43.754" v="126" actId="478"/>
          <ac:graphicFrameMkLst>
            <pc:docMk/>
            <pc:sldMk cId="659418568" sldId="2147310011"/>
            <ac:graphicFrameMk id="86" creationId="{03CB68EE-36FB-0EDC-36E2-2186BF0D1B21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6:57:54.671" v="127"/>
          <ac:graphicFrameMkLst>
            <pc:docMk/>
            <pc:sldMk cId="659418568" sldId="2147310011"/>
            <ac:graphicFrameMk id="96" creationId="{224917DE-B69A-F649-8CCF-3F273E2DFDDC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6:57:54.671" v="127"/>
          <ac:graphicFrameMkLst>
            <pc:docMk/>
            <pc:sldMk cId="659418568" sldId="2147310011"/>
            <ac:graphicFrameMk id="99" creationId="{F80F6827-4F82-ED23-FE49-7A731F75170B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6:57:54.671" v="127"/>
          <ac:graphicFrameMkLst>
            <pc:docMk/>
            <pc:sldMk cId="659418568" sldId="2147310011"/>
            <ac:graphicFrameMk id="107" creationId="{017A39C5-03EE-0BE9-0CC0-2447E9BD8116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20:31:22.826" v="1164" actId="20577"/>
          <ac:graphicFrameMkLst>
            <pc:docMk/>
            <pc:sldMk cId="659418568" sldId="2147310011"/>
            <ac:graphicFrameMk id="110" creationId="{9AACE07F-CD5C-FD7A-3F14-DE575D3AC3D1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6:57:54.671" v="127"/>
          <ac:graphicFrameMkLst>
            <pc:docMk/>
            <pc:sldMk cId="659418568" sldId="2147310011"/>
            <ac:graphicFrameMk id="121" creationId="{F552A0A9-1624-93C4-9CF1-D68410798AB2}"/>
          </ac:graphicFrameMkLst>
        </pc:graphicFrameChg>
        <pc:cxnChg chg="mod">
          <ac:chgData name="Fernando Enrique Nuñez Zapata" userId="4887fb29-3871-42a7-b0aa-ea8d45a5c181" providerId="ADAL" clId="{37C96D54-16B4-44B1-B164-EE26854F9527}" dt="2024-05-16T15:12:16.107" v="1292" actId="1038"/>
          <ac:cxnSpMkLst>
            <pc:docMk/>
            <pc:sldMk cId="659418568" sldId="2147310011"/>
            <ac:cxnSpMk id="50" creationId="{AC2C4928-770F-4F0F-ED16-F4DA4132D4BB}"/>
          </ac:cxnSpMkLst>
        </pc:cxnChg>
        <pc:cxnChg chg="mod">
          <ac:chgData name="Fernando Enrique Nuñez Zapata" userId="4887fb29-3871-42a7-b0aa-ea8d45a5c181" providerId="ADAL" clId="{37C96D54-16B4-44B1-B164-EE26854F9527}" dt="2024-05-16T15:12:16.107" v="1292" actId="1038"/>
          <ac:cxnSpMkLst>
            <pc:docMk/>
            <pc:sldMk cId="659418568" sldId="2147310011"/>
            <ac:cxnSpMk id="51" creationId="{C206E334-3B8E-C988-A1A2-955D965AC5FD}"/>
          </ac:cxnSpMkLst>
        </pc:cxnChg>
        <pc:cxnChg chg="mod">
          <ac:chgData name="Fernando Enrique Nuñez Zapata" userId="4887fb29-3871-42a7-b0aa-ea8d45a5c181" providerId="ADAL" clId="{37C96D54-16B4-44B1-B164-EE26854F9527}" dt="2024-05-16T15:12:58.810" v="1318" actId="1038"/>
          <ac:cxnSpMkLst>
            <pc:docMk/>
            <pc:sldMk cId="659418568" sldId="2147310011"/>
            <ac:cxnSpMk id="62" creationId="{7B36099A-E565-13EE-8397-B196138F5BA3}"/>
          </ac:cxnSpMkLst>
        </pc:cxnChg>
        <pc:cxnChg chg="mod">
          <ac:chgData name="Fernando Enrique Nuñez Zapata" userId="4887fb29-3871-42a7-b0aa-ea8d45a5c181" providerId="ADAL" clId="{37C96D54-16B4-44B1-B164-EE26854F9527}" dt="2024-05-16T15:12:58.810" v="1318" actId="1038"/>
          <ac:cxnSpMkLst>
            <pc:docMk/>
            <pc:sldMk cId="659418568" sldId="2147310011"/>
            <ac:cxnSpMk id="73" creationId="{3697CCAC-0E37-6A28-ED96-031DCEA4FC70}"/>
          </ac:cxnSpMkLst>
        </pc:cxnChg>
        <pc:cxnChg chg="mod">
          <ac:chgData name="Fernando Enrique Nuñez Zapata" userId="4887fb29-3871-42a7-b0aa-ea8d45a5c181" providerId="ADAL" clId="{37C96D54-16B4-44B1-B164-EE26854F9527}" dt="2024-05-14T17:04:45.044" v="188" actId="1038"/>
          <ac:cxnSpMkLst>
            <pc:docMk/>
            <pc:sldMk cId="659418568" sldId="2147310011"/>
            <ac:cxnSpMk id="75" creationId="{CBC30034-2494-EEE6-4941-D5E49EE45227}"/>
          </ac:cxnSpMkLst>
        </pc:cxnChg>
        <pc:cxnChg chg="mod">
          <ac:chgData name="Fernando Enrique Nuñez Zapata" userId="4887fb29-3871-42a7-b0aa-ea8d45a5c181" providerId="ADAL" clId="{37C96D54-16B4-44B1-B164-EE26854F9527}" dt="2024-05-14T17:04:45.044" v="188" actId="1038"/>
          <ac:cxnSpMkLst>
            <pc:docMk/>
            <pc:sldMk cId="659418568" sldId="2147310011"/>
            <ac:cxnSpMk id="78" creationId="{D9E0C0DD-800B-A07C-18E6-602A6BF0049E}"/>
          </ac:cxnSpMkLst>
        </pc:cxnChg>
      </pc:sldChg>
      <pc:sldChg chg="addSp delSp modSp mod delAnim modAnim">
        <pc:chgData name="Fernando Enrique Nuñez Zapata" userId="4887fb29-3871-42a7-b0aa-ea8d45a5c181" providerId="ADAL" clId="{37C96D54-16B4-44B1-B164-EE26854F9527}" dt="2024-05-16T16:01:26.416" v="1565"/>
        <pc:sldMkLst>
          <pc:docMk/>
          <pc:sldMk cId="1253964456" sldId="2147310012"/>
        </pc:sldMkLst>
        <pc:spChg chg="mod">
          <ac:chgData name="Fernando Enrique Nuñez Zapata" userId="4887fb29-3871-42a7-b0aa-ea8d45a5c181" providerId="ADAL" clId="{37C96D54-16B4-44B1-B164-EE26854F9527}" dt="2024-05-16T15:18:03.620" v="1389" actId="1037"/>
          <ac:spMkLst>
            <pc:docMk/>
            <pc:sldMk cId="1253964456" sldId="2147310012"/>
            <ac:spMk id="4" creationId="{4CFB68E7-01DD-37B7-6A57-4F8E9D57FA4A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9" creationId="{58251F7C-8A01-21BB-EED1-CA1CB74358F3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12" creationId="{CB008EDC-CC8C-5B8D-C7EE-8C37A604E01E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13" creationId="{F2E4AD15-467C-5126-52F0-9DD08431BF40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15" creationId="{59C48EEF-DBDF-52AB-7672-911D253B418C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16" creationId="{9D1384F7-8B25-87E7-404D-C31FB8532199}"/>
          </ac:spMkLst>
        </pc:spChg>
        <pc:spChg chg="mod">
          <ac:chgData name="Fernando Enrique Nuñez Zapata" userId="4887fb29-3871-42a7-b0aa-ea8d45a5c181" providerId="ADAL" clId="{37C96D54-16B4-44B1-B164-EE26854F9527}" dt="2024-05-16T15:18:03.620" v="1389" actId="1037"/>
          <ac:spMkLst>
            <pc:docMk/>
            <pc:sldMk cId="1253964456" sldId="2147310012"/>
            <ac:spMk id="17" creationId="{89FE72E6-6CF0-FA38-C541-ACF691A16BEC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22" creationId="{92046C43-BCD8-5AA8-F415-FDA6D72B4466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23" creationId="{92C8AEBE-FD39-5D99-E37A-4B01EAA3C09C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25" creationId="{336F8881-D604-355F-AD8B-A0B81DAF5F1E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27" creationId="{70AD7CD8-45A5-A9FD-9032-21D317DA65D1}"/>
          </ac:spMkLst>
        </pc:spChg>
        <pc:spChg chg="mod">
          <ac:chgData name="Fernando Enrique Nuñez Zapata" userId="4887fb29-3871-42a7-b0aa-ea8d45a5c181" providerId="ADAL" clId="{37C96D54-16B4-44B1-B164-EE26854F9527}" dt="2024-05-16T15:18:59.917" v="1404" actId="1037"/>
          <ac:spMkLst>
            <pc:docMk/>
            <pc:sldMk cId="1253964456" sldId="2147310012"/>
            <ac:spMk id="28" creationId="{71384855-0396-A9B4-27BE-26F7E46581BD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0" creationId="{5E4AA171-528B-F799-3B32-3343A63255BF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5" creationId="{7B7B0122-880B-71CD-E694-3D5869471C0C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6" creationId="{3F893F88-646C-5D4B-8C0B-32887E1676A8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7" creationId="{6552515D-C06D-33F7-3CF9-0DB1FC8180B4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8" creationId="{72490DE1-31E3-BAB9-7141-8FB9E4F3D742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39" creationId="{7C9D93C6-C602-2331-1AF7-00F7A318B9A8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0" creationId="{090224F8-8495-93FC-EEDA-AD3F9F65F3FB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3" creationId="{521FBE92-E6D2-0545-69BB-E3FC08E46A6C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4" creationId="{1E313520-3628-E187-1282-5C4AA0486CDE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5" creationId="{47D43CEE-CCC3-1D50-B7E4-20476A3530B0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6" creationId="{09978572-8D36-4EA0-3E65-25FDC305DD6B}"/>
          </ac:spMkLst>
        </pc:spChg>
        <pc:spChg chg="del">
          <ac:chgData name="Fernando Enrique Nuñez Zapata" userId="4887fb29-3871-42a7-b0aa-ea8d45a5c181" providerId="ADAL" clId="{37C96D54-16B4-44B1-B164-EE26854F9527}" dt="2024-05-14T17:09:13.064" v="232" actId="478"/>
          <ac:spMkLst>
            <pc:docMk/>
            <pc:sldMk cId="1253964456" sldId="2147310012"/>
            <ac:spMk id="48" creationId="{08B0BEC2-6236-7287-B7F2-4EAFC3351787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49" creationId="{F5AB7F27-28A9-18AD-B636-88E5A7CF7EAC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0" creationId="{140D8814-8A85-2E8B-786E-6EE92957F1D0}"/>
          </ac:spMkLst>
        </pc:spChg>
        <pc:spChg chg="mod">
          <ac:chgData name="Fernando Enrique Nuñez Zapata" userId="4887fb29-3871-42a7-b0aa-ea8d45a5c181" providerId="ADAL" clId="{37C96D54-16B4-44B1-B164-EE26854F9527}" dt="2024-05-16T15:18:03.620" v="1389" actId="1037"/>
          <ac:spMkLst>
            <pc:docMk/>
            <pc:sldMk cId="1253964456" sldId="2147310012"/>
            <ac:spMk id="53" creationId="{FA42AA40-A391-EC6A-40D7-8F46A9ED8DE4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4" creationId="{7685C000-1930-F0F1-80C5-68430238C425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5" creationId="{25C2DC0B-9AAD-14BA-1812-5A813A145A04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6" creationId="{B4B516CB-686C-678F-8384-48D2D13F1D17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8" creationId="{7CA5B381-D62B-0A1C-A06F-7F456E59A07D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59" creationId="{9D145E76-C19C-E76B-5D7B-699284D0FC07}"/>
          </ac:spMkLst>
        </pc:spChg>
        <pc:spChg chg="mod">
          <ac:chgData name="Fernando Enrique Nuñez Zapata" userId="4887fb29-3871-42a7-b0aa-ea8d45a5c181" providerId="ADAL" clId="{37C96D54-16B4-44B1-B164-EE26854F9527}" dt="2024-05-14T17:15:59.597" v="313" actId="1037"/>
          <ac:spMkLst>
            <pc:docMk/>
            <pc:sldMk cId="1253964456" sldId="2147310012"/>
            <ac:spMk id="60" creationId="{55B96CF4-057C-BAF4-D262-C61572D2E81A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62" creationId="{0F996A25-649D-BF3E-21DE-BEBCA73B7472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63" creationId="{CD800E23-2747-14FD-0778-87722EAF446C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68" creationId="{B6446076-024D-39BD-26CB-8FFD617FA696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69" creationId="{945D6B1B-3FF8-407E-5AAC-C9D044CCF0DD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70" creationId="{71DE8B40-B251-DA94-886A-41AEEB083698}"/>
          </ac:spMkLst>
        </pc:spChg>
        <pc:spChg chg="mod">
          <ac:chgData name="Fernando Enrique Nuñez Zapata" userId="4887fb29-3871-42a7-b0aa-ea8d45a5c181" providerId="ADAL" clId="{37C96D54-16B4-44B1-B164-EE26854F9527}" dt="2024-05-14T17:15:59.597" v="313" actId="1037"/>
          <ac:spMkLst>
            <pc:docMk/>
            <pc:sldMk cId="1253964456" sldId="2147310012"/>
            <ac:spMk id="72" creationId="{56E3CDC5-DB80-FFA1-9927-2DCE423D20E6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73" creationId="{785B7A10-CCD1-B209-C4E1-4235E392D88E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75" creationId="{FAAB3870-F43C-9A6B-2503-689047C9EF12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77" creationId="{67118FA6-A085-7A3D-42BC-0A84AA8D053D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78" creationId="{000F0A9A-3BBC-07BD-A7A8-7FCCE0441DAF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80" creationId="{90BB0D4B-BF9B-FE93-90EA-FDB44B5BF5C1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81" creationId="{70E222E2-09F9-0E24-96F2-506E3A629EF0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82" creationId="{3ED8E465-1678-1236-BC0C-0B25325BF6C4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83" creationId="{17C329F6-1734-F0EE-F8F2-A449B8B56382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87" creationId="{4E2DD4AC-3AC6-2361-6169-1EFF6FD5901B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88" creationId="{1040B8B7-67DE-A17F-E619-C79CE4FCB9F7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89" creationId="{7DDE8F3E-6261-8C4A-3DAC-FB12271ADE4E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0" creationId="{2BADC4E7-27AD-6A10-73C2-090717941792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1" creationId="{689F2D87-D76C-FE65-7AAA-D58A9B42F81C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2" creationId="{804341AA-E23E-036D-8AF9-71B8B8DF5B18}"/>
          </ac:spMkLst>
        </pc:spChg>
        <pc:spChg chg="add mod">
          <ac:chgData name="Fernando Enrique Nuñez Zapata" userId="4887fb29-3871-42a7-b0aa-ea8d45a5c181" providerId="ADAL" clId="{37C96D54-16B4-44B1-B164-EE26854F9527}" dt="2024-05-14T17:11:22.440" v="288" actId="552"/>
          <ac:spMkLst>
            <pc:docMk/>
            <pc:sldMk cId="1253964456" sldId="2147310012"/>
            <ac:spMk id="94" creationId="{76EB599A-D837-B3D9-6C3C-1150A383BFAB}"/>
          </ac:spMkLst>
        </pc:spChg>
        <pc:spChg chg="add mod">
          <ac:chgData name="Fernando Enrique Nuñez Zapata" userId="4887fb29-3871-42a7-b0aa-ea8d45a5c181" providerId="ADAL" clId="{37C96D54-16B4-44B1-B164-EE26854F9527}" dt="2024-05-14T17:11:16.040" v="287" actId="552"/>
          <ac:spMkLst>
            <pc:docMk/>
            <pc:sldMk cId="1253964456" sldId="2147310012"/>
            <ac:spMk id="95" creationId="{CA5CD294-D42C-EF9B-6917-7FD0D825F43B}"/>
          </ac:spMkLst>
        </pc:spChg>
        <pc:spChg chg="add mod">
          <ac:chgData name="Fernando Enrique Nuñez Zapata" userId="4887fb29-3871-42a7-b0aa-ea8d45a5c181" providerId="ADAL" clId="{37C96D54-16B4-44B1-B164-EE26854F9527}" dt="2024-05-14T17:11:27.700" v="289" actId="552"/>
          <ac:spMkLst>
            <pc:docMk/>
            <pc:sldMk cId="1253964456" sldId="2147310012"/>
            <ac:spMk id="96" creationId="{8EA4C716-8252-C001-0A26-13CC05F1E324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7" creationId="{A5B860CA-15DD-5A18-1755-A866FDF017A5}"/>
          </ac:spMkLst>
        </pc:spChg>
        <pc:spChg chg="add mod">
          <ac:chgData name="Fernando Enrique Nuñez Zapata" userId="4887fb29-3871-42a7-b0aa-ea8d45a5c181" providerId="ADAL" clId="{37C96D54-16B4-44B1-B164-EE26854F9527}" dt="2024-05-14T17:14:23.438" v="296" actId="108"/>
          <ac:spMkLst>
            <pc:docMk/>
            <pc:sldMk cId="1253964456" sldId="2147310012"/>
            <ac:spMk id="98" creationId="{7DEBFCFF-0812-6FAF-20B1-DF8CADF2839A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99" creationId="{EBF963D8-1313-EC79-EAEF-C30FC38B1533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0" creationId="{6C2A243D-9196-6042-C28A-B71FB2C24109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1" creationId="{4CD55B8E-A665-35A0-3F16-099CCDAD3B15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2" creationId="{1E76F502-F8DF-9C86-5C38-071ED4CEDA09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3" creationId="{B59C0810-B15F-2DEB-50A1-1824A8332FB3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04" creationId="{BC027290-92ED-65DF-7576-AAA00D75036A}"/>
          </ac:spMkLst>
        </pc:spChg>
        <pc:spChg chg="add mod">
          <ac:chgData name="Fernando Enrique Nuñez Zapata" userId="4887fb29-3871-42a7-b0aa-ea8d45a5c181" providerId="ADAL" clId="{37C96D54-16B4-44B1-B164-EE26854F9527}" dt="2024-05-14T17:14:30.866" v="297" actId="108"/>
          <ac:spMkLst>
            <pc:docMk/>
            <pc:sldMk cId="1253964456" sldId="2147310012"/>
            <ac:spMk id="105" creationId="{A0B213D8-7848-9AD9-A580-6A4B0DE69B9B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106" creationId="{61E59777-6656-6A06-834E-BA02FB91664D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107" creationId="{E465AB8B-13FF-92EF-AFC3-221CBE60A234}"/>
          </ac:spMkLst>
        </pc:spChg>
        <pc:spChg chg="add del mod">
          <ac:chgData name="Fernando Enrique Nuñez Zapata" userId="4887fb29-3871-42a7-b0aa-ea8d45a5c181" providerId="ADAL" clId="{37C96D54-16B4-44B1-B164-EE26854F9527}" dt="2024-05-14T17:09:45.701" v="238" actId="478"/>
          <ac:spMkLst>
            <pc:docMk/>
            <pc:sldMk cId="1253964456" sldId="2147310012"/>
            <ac:spMk id="108" creationId="{371C0AAB-DCF7-88B8-3A2F-8EE647B30551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109" creationId="{CD065505-EBCB-7F95-792C-3DA8B23A4340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110" creationId="{245CDF79-301E-758B-9259-956A056277EB}"/>
          </ac:spMkLst>
        </pc:spChg>
        <pc:spChg chg="add del mod">
          <ac:chgData name="Fernando Enrique Nuñez Zapata" userId="4887fb29-3871-42a7-b0aa-ea8d45a5c181" providerId="ADAL" clId="{37C96D54-16B4-44B1-B164-EE26854F9527}" dt="2024-05-14T17:10:23.261" v="240" actId="478"/>
          <ac:spMkLst>
            <pc:docMk/>
            <pc:sldMk cId="1253964456" sldId="2147310012"/>
            <ac:spMk id="111" creationId="{13ADE4BA-A381-5694-46F7-092200382A5E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12" creationId="{2B09B942-8A85-52A9-0BEF-97E73607201B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13" creationId="{72423B9A-B2FB-21EE-2B7E-123569111A12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14" creationId="{9F69E6E8-C0CD-BC4D-2653-4103F84B47BF}"/>
          </ac:spMkLst>
        </pc:spChg>
        <pc:spChg chg="add mod">
          <ac:chgData name="Fernando Enrique Nuñez Zapata" userId="4887fb29-3871-42a7-b0aa-ea8d45a5c181" providerId="ADAL" clId="{37C96D54-16B4-44B1-B164-EE26854F9527}" dt="2024-05-14T17:10:31.467" v="278" actId="1035"/>
          <ac:spMkLst>
            <pc:docMk/>
            <pc:sldMk cId="1253964456" sldId="2147310012"/>
            <ac:spMk id="115" creationId="{DDAC1D9E-968B-35DD-9864-9BDA09E6D3F4}"/>
          </ac:spMkLst>
        </pc:spChg>
        <pc:spChg chg="add mod">
          <ac:chgData name="Fernando Enrique Nuñez Zapata" userId="4887fb29-3871-42a7-b0aa-ea8d45a5c181" providerId="ADAL" clId="{37C96D54-16B4-44B1-B164-EE26854F9527}" dt="2024-05-14T17:10:18.134" v="239"/>
          <ac:spMkLst>
            <pc:docMk/>
            <pc:sldMk cId="1253964456" sldId="2147310012"/>
            <ac:spMk id="117" creationId="{916A50A6-01D3-869C-2F58-47155AF9F60F}"/>
          </ac:spMkLst>
        </pc:spChg>
        <pc:spChg chg="add mod">
          <ac:chgData name="Fernando Enrique Nuñez Zapata" userId="4887fb29-3871-42a7-b0aa-ea8d45a5c181" providerId="ADAL" clId="{37C96D54-16B4-44B1-B164-EE26854F9527}" dt="2024-05-14T17:11:22.440" v="288" actId="552"/>
          <ac:spMkLst>
            <pc:docMk/>
            <pc:sldMk cId="1253964456" sldId="2147310012"/>
            <ac:spMk id="118" creationId="{22DC5AD5-86B9-1BD3-B9D2-F5AC3BE164BD}"/>
          </ac:spMkLst>
        </pc:spChg>
        <pc:spChg chg="add mod">
          <ac:chgData name="Fernando Enrique Nuñez Zapata" userId="4887fb29-3871-42a7-b0aa-ea8d45a5c181" providerId="ADAL" clId="{37C96D54-16B4-44B1-B164-EE26854F9527}" dt="2024-05-14T17:11:16.040" v="287" actId="552"/>
          <ac:spMkLst>
            <pc:docMk/>
            <pc:sldMk cId="1253964456" sldId="2147310012"/>
            <ac:spMk id="119" creationId="{E207651D-48BB-BDA1-5862-9BFB4153C375}"/>
          </ac:spMkLst>
        </pc:spChg>
        <pc:spChg chg="add mod">
          <ac:chgData name="Fernando Enrique Nuñez Zapata" userId="4887fb29-3871-42a7-b0aa-ea8d45a5c181" providerId="ADAL" clId="{37C96D54-16B4-44B1-B164-EE26854F9527}" dt="2024-05-14T17:11:22.440" v="288" actId="552"/>
          <ac:spMkLst>
            <pc:docMk/>
            <pc:sldMk cId="1253964456" sldId="2147310012"/>
            <ac:spMk id="120" creationId="{E2D645FF-28E4-6073-76D2-80A39E9D73BE}"/>
          </ac:spMkLst>
        </pc:spChg>
        <pc:spChg chg="add mod">
          <ac:chgData name="Fernando Enrique Nuñez Zapata" userId="4887fb29-3871-42a7-b0aa-ea8d45a5c181" providerId="ADAL" clId="{37C96D54-16B4-44B1-B164-EE26854F9527}" dt="2024-05-14T17:11:16.040" v="287" actId="552"/>
          <ac:spMkLst>
            <pc:docMk/>
            <pc:sldMk cId="1253964456" sldId="2147310012"/>
            <ac:spMk id="121" creationId="{EAB5AF86-A55E-AE71-E91B-D4912F6F5553}"/>
          </ac:spMkLst>
        </pc:spChg>
        <pc:spChg chg="add mod">
          <ac:chgData name="Fernando Enrique Nuñez Zapata" userId="4887fb29-3871-42a7-b0aa-ea8d45a5c181" providerId="ADAL" clId="{37C96D54-16B4-44B1-B164-EE26854F9527}" dt="2024-05-14T17:11:16.040" v="287" actId="552"/>
          <ac:spMkLst>
            <pc:docMk/>
            <pc:sldMk cId="1253964456" sldId="2147310012"/>
            <ac:spMk id="122" creationId="{BA9682AA-001C-8A5E-8042-FBABC2037B31}"/>
          </ac:spMkLst>
        </pc:spChg>
        <pc:spChg chg="add mod">
          <ac:chgData name="Fernando Enrique Nuñez Zapata" userId="4887fb29-3871-42a7-b0aa-ea8d45a5c181" providerId="ADAL" clId="{37C96D54-16B4-44B1-B164-EE26854F9527}" dt="2024-05-14T17:11:22.440" v="288" actId="552"/>
          <ac:spMkLst>
            <pc:docMk/>
            <pc:sldMk cId="1253964456" sldId="2147310012"/>
            <ac:spMk id="123" creationId="{7711E263-3C56-0458-4BCB-EA19FDA3A7E6}"/>
          </ac:spMkLst>
        </pc:spChg>
        <pc:spChg chg="add mod">
          <ac:chgData name="Fernando Enrique Nuñez Zapata" userId="4887fb29-3871-42a7-b0aa-ea8d45a5c181" providerId="ADAL" clId="{37C96D54-16B4-44B1-B164-EE26854F9527}" dt="2024-05-14T17:11:27.700" v="289" actId="552"/>
          <ac:spMkLst>
            <pc:docMk/>
            <pc:sldMk cId="1253964456" sldId="2147310012"/>
            <ac:spMk id="124" creationId="{CC71A90D-F322-9286-01D8-4BE34DA28BA0}"/>
          </ac:spMkLst>
        </pc:spChg>
        <pc:spChg chg="add mod">
          <ac:chgData name="Fernando Enrique Nuñez Zapata" userId="4887fb29-3871-42a7-b0aa-ea8d45a5c181" providerId="ADAL" clId="{37C96D54-16B4-44B1-B164-EE26854F9527}" dt="2024-05-14T17:11:27.700" v="289" actId="552"/>
          <ac:spMkLst>
            <pc:docMk/>
            <pc:sldMk cId="1253964456" sldId="2147310012"/>
            <ac:spMk id="125" creationId="{B1D6FC51-FBBA-8B33-1BF5-39C71E4E35C8}"/>
          </ac:spMkLst>
        </pc:spChg>
        <pc:spChg chg="add mod">
          <ac:chgData name="Fernando Enrique Nuñez Zapata" userId="4887fb29-3871-42a7-b0aa-ea8d45a5c181" providerId="ADAL" clId="{37C96D54-16B4-44B1-B164-EE26854F9527}" dt="2024-05-14T17:11:27.700" v="289" actId="552"/>
          <ac:spMkLst>
            <pc:docMk/>
            <pc:sldMk cId="1253964456" sldId="2147310012"/>
            <ac:spMk id="126" creationId="{38E36459-6E29-38BA-F3C9-2ED91AF08506}"/>
          </ac:spMkLst>
        </pc:spChg>
        <pc:spChg chg="add mod">
          <ac:chgData name="Fernando Enrique Nuñez Zapata" userId="4887fb29-3871-42a7-b0aa-ea8d45a5c181" providerId="ADAL" clId="{37C96D54-16B4-44B1-B164-EE26854F9527}" dt="2024-05-14T17:21:12.203" v="338" actId="1076"/>
          <ac:spMkLst>
            <pc:docMk/>
            <pc:sldMk cId="1253964456" sldId="2147310012"/>
            <ac:spMk id="129" creationId="{996F2D96-A43F-790A-554B-B4ACB3E5A9B9}"/>
          </ac:spMkLst>
        </pc:spChg>
        <pc:spChg chg="add mod">
          <ac:chgData name="Fernando Enrique Nuñez Zapata" userId="4887fb29-3871-42a7-b0aa-ea8d45a5c181" providerId="ADAL" clId="{37C96D54-16B4-44B1-B164-EE26854F9527}" dt="2024-05-14T17:21:12.203" v="338" actId="1076"/>
          <ac:spMkLst>
            <pc:docMk/>
            <pc:sldMk cId="1253964456" sldId="2147310012"/>
            <ac:spMk id="130" creationId="{3F7FD92E-F0E8-6B43-F536-BA2ACB253A49}"/>
          </ac:spMkLst>
        </pc:spChg>
        <pc:spChg chg="add mod">
          <ac:chgData name="Fernando Enrique Nuñez Zapata" userId="4887fb29-3871-42a7-b0aa-ea8d45a5c181" providerId="ADAL" clId="{37C96D54-16B4-44B1-B164-EE26854F9527}" dt="2024-05-14T17:21:12.203" v="338" actId="1076"/>
          <ac:spMkLst>
            <pc:docMk/>
            <pc:sldMk cId="1253964456" sldId="2147310012"/>
            <ac:spMk id="131" creationId="{554A0CCA-FF67-EFC8-E280-E4334E84600B}"/>
          </ac:spMkLst>
        </pc:spChg>
        <pc:grpChg chg="mod">
          <ac:chgData name="Fernando Enrique Nuñez Zapata" userId="4887fb29-3871-42a7-b0aa-ea8d45a5c181" providerId="ADAL" clId="{37C96D54-16B4-44B1-B164-EE26854F9527}" dt="2024-05-14T17:15:40.950" v="301" actId="14100"/>
          <ac:grpSpMkLst>
            <pc:docMk/>
            <pc:sldMk cId="1253964456" sldId="2147310012"/>
            <ac:grpSpMk id="71" creationId="{FF7209EA-C8C0-A718-795F-D3F9E618D4F4}"/>
          </ac:grpSpMkLst>
        </pc:grpChg>
        <pc:graphicFrameChg chg="mod modGraphic">
          <ac:chgData name="Fernando Enrique Nuñez Zapata" userId="4887fb29-3871-42a7-b0aa-ea8d45a5c181" providerId="ADAL" clId="{37C96D54-16B4-44B1-B164-EE26854F9527}" dt="2024-05-16T15:19:55.520" v="1414" actId="20577"/>
          <ac:graphicFrameMkLst>
            <pc:docMk/>
            <pc:sldMk cId="1253964456" sldId="2147310012"/>
            <ac:graphicFrameMk id="7" creationId="{86558587-26DE-D04D-0271-A55E7F7A706F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09:13.064" v="232" actId="478"/>
          <ac:graphicFrameMkLst>
            <pc:docMk/>
            <pc:sldMk cId="1253964456" sldId="2147310012"/>
            <ac:graphicFrameMk id="14" creationId="{7769D7E9-3C10-8AF6-827F-35BBF6905CB5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17:09:45.701" v="238" actId="478"/>
          <ac:graphicFrameMkLst>
            <pc:docMk/>
            <pc:sldMk cId="1253964456" sldId="2147310012"/>
            <ac:graphicFrameMk id="18" creationId="{6A37A2B1-CA14-4A00-5A53-6BFB9D28BD63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09:13.064" v="232" actId="478"/>
          <ac:graphicFrameMkLst>
            <pc:docMk/>
            <pc:sldMk cId="1253964456" sldId="2147310012"/>
            <ac:graphicFrameMk id="41" creationId="{4CF19EB1-6B53-88BC-3AD3-34E957F9A87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09:13.064" v="232" actId="478"/>
          <ac:graphicFrameMkLst>
            <pc:docMk/>
            <pc:sldMk cId="1253964456" sldId="2147310012"/>
            <ac:graphicFrameMk id="42" creationId="{DF06844F-3A85-AD17-9491-304085CAA132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17:09:45.701" v="238" actId="478"/>
          <ac:graphicFrameMkLst>
            <pc:docMk/>
            <pc:sldMk cId="1253964456" sldId="2147310012"/>
            <ac:graphicFrameMk id="57" creationId="{8715BBF6-8314-59F6-5972-C580F0772F91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17:10:23.261" v="240" actId="478"/>
          <ac:graphicFrameMkLst>
            <pc:docMk/>
            <pc:sldMk cId="1253964456" sldId="2147310012"/>
            <ac:graphicFrameMk id="61" creationId="{A185E84D-B4FB-F436-1288-99BED834BFB7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21:49.814" v="1440" actId="122"/>
          <ac:graphicFrameMkLst>
            <pc:docMk/>
            <pc:sldMk cId="1253964456" sldId="2147310012"/>
            <ac:graphicFrameMk id="64" creationId="{49831838-B7CB-E5AF-B290-D7FF6EEEC131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21:22.790" v="1436" actId="122"/>
          <ac:graphicFrameMkLst>
            <pc:docMk/>
            <pc:sldMk cId="1253964456" sldId="2147310012"/>
            <ac:graphicFrameMk id="74" creationId="{87F77502-D64F-3351-7D83-382B7F6D8C9E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10:31.467" v="278" actId="1035"/>
          <ac:graphicFrameMkLst>
            <pc:docMk/>
            <pc:sldMk cId="1253964456" sldId="2147310012"/>
            <ac:graphicFrameMk id="76" creationId="{77FF5062-77FE-063A-F3BF-E3BDA886374A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20:31:28.155" v="1167" actId="20577"/>
          <ac:graphicFrameMkLst>
            <pc:docMk/>
            <pc:sldMk cId="1253964456" sldId="2147310012"/>
            <ac:graphicFrameMk id="79" creationId="{AE610A2F-1113-208E-6D2C-74575A226BC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09:13.064" v="232" actId="478"/>
          <ac:graphicFrameMkLst>
            <pc:docMk/>
            <pc:sldMk cId="1253964456" sldId="2147310012"/>
            <ac:graphicFrameMk id="86" creationId="{03CB68EE-36FB-0EDC-36E2-2186BF0D1B21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10:31.467" v="278" actId="1035"/>
          <ac:graphicFrameMkLst>
            <pc:docMk/>
            <pc:sldMk cId="1253964456" sldId="2147310012"/>
            <ac:graphicFrameMk id="93" creationId="{FC23B43C-5CDE-E746-BB68-17DF76019E26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4T17:11:04.990" v="286" actId="20577"/>
          <ac:graphicFrameMkLst>
            <pc:docMk/>
            <pc:sldMk cId="1253964456" sldId="2147310012"/>
            <ac:graphicFrameMk id="116" creationId="{3A0C57E6-135A-4CDE-2036-FCFC5749E4BD}"/>
          </ac:graphicFrameMkLst>
        </pc:graphicFrameChg>
        <pc:cxnChg chg="mod">
          <ac:chgData name="Fernando Enrique Nuñez Zapata" userId="4887fb29-3871-42a7-b0aa-ea8d45a5c181" providerId="ADAL" clId="{37C96D54-16B4-44B1-B164-EE26854F9527}" dt="2024-05-16T15:18:59.917" v="1404" actId="1037"/>
          <ac:cxnSpMkLst>
            <pc:docMk/>
            <pc:sldMk cId="1253964456" sldId="2147310012"/>
            <ac:cxnSpMk id="24" creationId="{D1CA1A3B-97BF-A4F0-676D-2E2BF5351516}"/>
          </ac:cxnSpMkLst>
        </pc:cxnChg>
        <pc:cxnChg chg="mod">
          <ac:chgData name="Fernando Enrique Nuñez Zapata" userId="4887fb29-3871-42a7-b0aa-ea8d45a5c181" providerId="ADAL" clId="{37C96D54-16B4-44B1-B164-EE26854F9527}" dt="2024-05-16T15:18:59.917" v="1404" actId="1037"/>
          <ac:cxnSpMkLst>
            <pc:docMk/>
            <pc:sldMk cId="1253964456" sldId="2147310012"/>
            <ac:cxnSpMk id="26" creationId="{BAFC660C-DB27-024A-8264-141ACA3FE584}"/>
          </ac:cxnSpMkLst>
        </pc:cxnChg>
        <pc:cxnChg chg="mod">
          <ac:chgData name="Fernando Enrique Nuñez Zapata" userId="4887fb29-3871-42a7-b0aa-ea8d45a5c181" providerId="ADAL" clId="{37C96D54-16B4-44B1-B164-EE26854F9527}" dt="2024-05-14T17:15:52.977" v="303" actId="14100"/>
          <ac:cxnSpMkLst>
            <pc:docMk/>
            <pc:sldMk cId="1253964456" sldId="2147310012"/>
            <ac:cxnSpMk id="51" creationId="{C206E334-3B8E-C988-A1A2-955D965AC5FD}"/>
          </ac:cxnSpMkLst>
        </pc:cxnChg>
      </pc:sldChg>
      <pc:sldChg chg="addSp delSp modSp mod addAnim delAnim modAnim">
        <pc:chgData name="Fernando Enrique Nuñez Zapata" userId="4887fb29-3871-42a7-b0aa-ea8d45a5c181" providerId="ADAL" clId="{37C96D54-16B4-44B1-B164-EE26854F9527}" dt="2024-05-16T16:07:06.910" v="1574"/>
        <pc:sldMkLst>
          <pc:docMk/>
          <pc:sldMk cId="3220162634" sldId="2147310013"/>
        </pc:sldMkLst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10" creationId="{B51900B6-F241-24F6-26EB-D989ACB4E13C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11" creationId="{A1FB0802-61FD-379E-101E-69B4B22A9376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12" creationId="{CB008EDC-CC8C-5B8D-C7EE-8C37A604E01E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13" creationId="{5183E756-26C7-1B36-FF01-F554A8F79BDE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15" creationId="{274441E7-37E2-622E-E43C-F0C515AE926B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20" creationId="{2B8ED25F-90FA-E3CA-F345-7231843CDA71}"/>
          </ac:spMkLst>
        </pc:spChg>
        <pc:spChg chg="mod">
          <ac:chgData name="Fernando Enrique Nuñez Zapata" userId="4887fb29-3871-42a7-b0aa-ea8d45a5c181" providerId="ADAL" clId="{37C96D54-16B4-44B1-B164-EE26854F9527}" dt="2024-05-16T15:23:28.125" v="1476" actId="1037"/>
          <ac:spMkLst>
            <pc:docMk/>
            <pc:sldMk cId="3220162634" sldId="2147310013"/>
            <ac:spMk id="21" creationId="{1D59CAD0-FAC0-0B32-FD2A-220A16AB290B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22" creationId="{F8267D3B-E7B2-D5A5-0C9F-65E46092EFE7}"/>
          </ac:spMkLst>
        </pc:spChg>
        <pc:spChg chg="mod">
          <ac:chgData name="Fernando Enrique Nuñez Zapata" userId="4887fb29-3871-42a7-b0aa-ea8d45a5c181" providerId="ADAL" clId="{37C96D54-16B4-44B1-B164-EE26854F9527}" dt="2024-05-16T15:23:33.465" v="1485" actId="1038"/>
          <ac:spMkLst>
            <pc:docMk/>
            <pc:sldMk cId="3220162634" sldId="2147310013"/>
            <ac:spMk id="23" creationId="{5C53E7DF-5446-8BB3-EAD8-2C4B22F3C78A}"/>
          </ac:spMkLst>
        </pc:spChg>
        <pc:spChg chg="mod">
          <ac:chgData name="Fernando Enrique Nuñez Zapata" userId="4887fb29-3871-42a7-b0aa-ea8d45a5c181" providerId="ADAL" clId="{37C96D54-16B4-44B1-B164-EE26854F9527}" dt="2024-05-16T15:23:28.125" v="1476" actId="1037"/>
          <ac:spMkLst>
            <pc:docMk/>
            <pc:sldMk cId="3220162634" sldId="2147310013"/>
            <ac:spMk id="25" creationId="{60AEF0E8-673F-F364-6612-B8C442F48D75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27" creationId="{34D23AD1-A144-6923-5142-C60D4FD2E070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28" creationId="{B761A65A-2EE3-ED35-E864-4CAD1A5197F8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2" creationId="{47464AE0-B531-F12C-977A-F4E8838B5033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5" creationId="{7B7B0122-880B-71CD-E694-3D5869471C0C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6" creationId="{3F893F88-646C-5D4B-8C0B-32887E1676A8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7" creationId="{6552515D-C06D-33F7-3CF9-0DB1FC8180B4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8" creationId="{72490DE1-31E3-BAB9-7141-8FB9E4F3D742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39" creationId="{7C9D93C6-C602-2331-1AF7-00F7A318B9A8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0" creationId="{090224F8-8495-93FC-EEDA-AD3F9F65F3FB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3" creationId="{521FBE92-E6D2-0545-69BB-E3FC08E46A6C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4" creationId="{1E313520-3628-E187-1282-5C4AA0486CDE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5" creationId="{47D43CEE-CCC3-1D50-B7E4-20476A3530B0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6" creationId="{09978572-8D36-4EA0-3E65-25FDC305DD6B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47" creationId="{08D53DA9-CEB0-BF2E-866E-95A6BA5CE860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49" creationId="{859BC90F-7BE2-A22A-8101-119E2F3B2071}"/>
          </ac:spMkLst>
        </pc:spChg>
        <pc:spChg chg="mod">
          <ac:chgData name="Fernando Enrique Nuñez Zapata" userId="4887fb29-3871-42a7-b0aa-ea8d45a5c181" providerId="ADAL" clId="{37C96D54-16B4-44B1-B164-EE26854F9527}" dt="2024-05-16T15:23:28.125" v="1476" actId="1037"/>
          <ac:spMkLst>
            <pc:docMk/>
            <pc:sldMk cId="3220162634" sldId="2147310013"/>
            <ac:spMk id="53" creationId="{FA42AA40-A391-EC6A-40D7-8F46A9ED8DE4}"/>
          </ac:spMkLst>
        </pc:spChg>
        <pc:spChg chg="del">
          <ac:chgData name="Fernando Enrique Nuñez Zapata" userId="4887fb29-3871-42a7-b0aa-ea8d45a5c181" providerId="ADAL" clId="{37C96D54-16B4-44B1-B164-EE26854F9527}" dt="2024-05-14T17:22:11.282" v="341" actId="478"/>
          <ac:spMkLst>
            <pc:docMk/>
            <pc:sldMk cId="3220162634" sldId="2147310013"/>
            <ac:spMk id="59" creationId="{B47A9981-00C3-9A6D-60DF-5390E04E2563}"/>
          </ac:spMkLst>
        </pc:spChg>
        <pc:spChg chg="mod">
          <ac:chgData name="Fernando Enrique Nuñez Zapata" userId="4887fb29-3871-42a7-b0aa-ea8d45a5c181" providerId="ADAL" clId="{37C96D54-16B4-44B1-B164-EE26854F9527}" dt="2024-05-14T17:25:22.433" v="379" actId="1037"/>
          <ac:spMkLst>
            <pc:docMk/>
            <pc:sldMk cId="3220162634" sldId="2147310013"/>
            <ac:spMk id="60" creationId="{55B96CF4-057C-BAF4-D262-C61572D2E81A}"/>
          </ac:spMkLst>
        </pc:spChg>
        <pc:spChg chg="add mod">
          <ac:chgData name="Fernando Enrique Nuñez Zapata" userId="4887fb29-3871-42a7-b0aa-ea8d45a5c181" providerId="ADAL" clId="{37C96D54-16B4-44B1-B164-EE26854F9527}" dt="2024-05-14T17:24:06.056" v="357" actId="108"/>
          <ac:spMkLst>
            <pc:docMk/>
            <pc:sldMk cId="3220162634" sldId="2147310013"/>
            <ac:spMk id="62" creationId="{44997196-086D-7964-0722-F8073CA90FC0}"/>
          </ac:spMkLst>
        </pc:spChg>
        <pc:spChg chg="add mod">
          <ac:chgData name="Fernando Enrique Nuñez Zapata" userId="4887fb29-3871-42a7-b0aa-ea8d45a5c181" providerId="ADAL" clId="{37C96D54-16B4-44B1-B164-EE26854F9527}" dt="2024-05-14T17:24:03.529" v="356" actId="108"/>
          <ac:spMkLst>
            <pc:docMk/>
            <pc:sldMk cId="3220162634" sldId="2147310013"/>
            <ac:spMk id="63" creationId="{85070DD9-D08E-AC3C-4977-9778310F8657}"/>
          </ac:spMkLst>
        </pc:spChg>
        <pc:spChg chg="add mod">
          <ac:chgData name="Fernando Enrique Nuñez Zapata" userId="4887fb29-3871-42a7-b0aa-ea8d45a5c181" providerId="ADAL" clId="{37C96D54-16B4-44B1-B164-EE26854F9527}" dt="2024-05-14T17:24:08.622" v="358" actId="108"/>
          <ac:spMkLst>
            <pc:docMk/>
            <pc:sldMk cId="3220162634" sldId="2147310013"/>
            <ac:spMk id="64" creationId="{1FE629D8-6CF0-3811-66EB-FBEB4430DF13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68" creationId="{7AF3FC2D-9B5C-45BD-90DE-B32D2B7DA721}"/>
          </ac:spMkLst>
        </pc:spChg>
        <pc:spChg chg="add mod">
          <ac:chgData name="Fernando Enrique Nuñez Zapata" userId="4887fb29-3871-42a7-b0aa-ea8d45a5c181" providerId="ADAL" clId="{37C96D54-16B4-44B1-B164-EE26854F9527}" dt="2024-05-14T17:24:14.529" v="359" actId="108"/>
          <ac:spMkLst>
            <pc:docMk/>
            <pc:sldMk cId="3220162634" sldId="2147310013"/>
            <ac:spMk id="69" creationId="{C0F18FE4-D0DE-5360-51D0-CD3E8F27F502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70" creationId="{BBEB28A8-6A34-0F83-2E2C-27D27ACF0D6C}"/>
          </ac:spMkLst>
        </pc:spChg>
        <pc:spChg chg="mod">
          <ac:chgData name="Fernando Enrique Nuñez Zapata" userId="4887fb29-3871-42a7-b0aa-ea8d45a5c181" providerId="ADAL" clId="{37C96D54-16B4-44B1-B164-EE26854F9527}" dt="2024-05-14T17:25:22.433" v="379" actId="1037"/>
          <ac:spMkLst>
            <pc:docMk/>
            <pc:sldMk cId="3220162634" sldId="2147310013"/>
            <ac:spMk id="72" creationId="{56E3CDC5-DB80-FFA1-9927-2DCE423D20E6}"/>
          </ac:spMkLst>
        </pc:spChg>
        <pc:spChg chg="add mod">
          <ac:chgData name="Fernando Enrique Nuñez Zapata" userId="4887fb29-3871-42a7-b0aa-ea8d45a5c181" providerId="ADAL" clId="{37C96D54-16B4-44B1-B164-EE26854F9527}" dt="2024-05-14T17:24:27.445" v="361" actId="108"/>
          <ac:spMkLst>
            <pc:docMk/>
            <pc:sldMk cId="3220162634" sldId="2147310013"/>
            <ac:spMk id="73" creationId="{0B007C6D-4C3F-B487-65C8-7F386665F76F}"/>
          </ac:spMkLst>
        </pc:spChg>
        <pc:spChg chg="add mod">
          <ac:chgData name="Fernando Enrique Nuñez Zapata" userId="4887fb29-3871-42a7-b0aa-ea8d45a5c181" providerId="ADAL" clId="{37C96D54-16B4-44B1-B164-EE26854F9527}" dt="2024-05-14T17:24:24.941" v="360" actId="108"/>
          <ac:spMkLst>
            <pc:docMk/>
            <pc:sldMk cId="3220162634" sldId="2147310013"/>
            <ac:spMk id="74" creationId="{BC1EAD57-6D90-B26B-8862-651DC4E71D73}"/>
          </ac:spMkLst>
        </pc:spChg>
        <pc:spChg chg="add mod">
          <ac:chgData name="Fernando Enrique Nuñez Zapata" userId="4887fb29-3871-42a7-b0aa-ea8d45a5c181" providerId="ADAL" clId="{37C96D54-16B4-44B1-B164-EE26854F9527}" dt="2024-05-14T17:24:29.835" v="362" actId="108"/>
          <ac:spMkLst>
            <pc:docMk/>
            <pc:sldMk cId="3220162634" sldId="2147310013"/>
            <ac:spMk id="75" creationId="{EA6E0450-DBE4-4ED2-7D64-67B4F30EB7F2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76" creationId="{C7D41C9F-FC11-2E44-B569-AFDAC7DF3438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77" creationId="{978095CC-A9FA-18DE-4B1A-55D761BCB86E}"/>
          </ac:spMkLst>
        </pc:spChg>
        <pc:spChg chg="add mod">
          <ac:chgData name="Fernando Enrique Nuñez Zapata" userId="4887fb29-3871-42a7-b0aa-ea8d45a5c181" providerId="ADAL" clId="{37C96D54-16B4-44B1-B164-EE26854F9527}" dt="2024-05-14T17:24:35.764" v="363" actId="108"/>
          <ac:spMkLst>
            <pc:docMk/>
            <pc:sldMk cId="3220162634" sldId="2147310013"/>
            <ac:spMk id="78" creationId="{C73F0DC0-862A-8201-7269-BEBE30684C5C}"/>
          </ac:spMkLst>
        </pc:spChg>
        <pc:spChg chg="add mod">
          <ac:chgData name="Fernando Enrique Nuñez Zapata" userId="4887fb29-3871-42a7-b0aa-ea8d45a5c181" providerId="ADAL" clId="{37C96D54-16B4-44B1-B164-EE26854F9527}" dt="2024-05-14T17:28:23.579" v="412" actId="108"/>
          <ac:spMkLst>
            <pc:docMk/>
            <pc:sldMk cId="3220162634" sldId="2147310013"/>
            <ac:spMk id="79" creationId="{8F2622FE-BDE9-EA9A-2B23-F64E611F1CBF}"/>
          </ac:spMkLst>
        </pc:spChg>
        <pc:spChg chg="add mod">
          <ac:chgData name="Fernando Enrique Nuñez Zapata" userId="4887fb29-3871-42a7-b0aa-ea8d45a5c181" providerId="ADAL" clId="{37C96D54-16B4-44B1-B164-EE26854F9527}" dt="2024-05-14T17:28:53.639" v="414" actId="108"/>
          <ac:spMkLst>
            <pc:docMk/>
            <pc:sldMk cId="3220162634" sldId="2147310013"/>
            <ac:spMk id="80" creationId="{FE9551CB-F25B-C281-1522-FD0CCA75A65C}"/>
          </ac:spMkLst>
        </pc:spChg>
        <pc:spChg chg="add mod">
          <ac:chgData name="Fernando Enrique Nuñez Zapata" userId="4887fb29-3871-42a7-b0aa-ea8d45a5c181" providerId="ADAL" clId="{37C96D54-16B4-44B1-B164-EE26854F9527}" dt="2024-05-14T17:28:37.572" v="413" actId="108"/>
          <ac:spMkLst>
            <pc:docMk/>
            <pc:sldMk cId="3220162634" sldId="2147310013"/>
            <ac:spMk id="81" creationId="{A8E2FD3A-6FF2-3218-31E9-3DEC3B80B233}"/>
          </ac:spMkLst>
        </pc:spChg>
        <pc:spChg chg="add mod">
          <ac:chgData name="Fernando Enrique Nuñez Zapata" userId="4887fb29-3871-42a7-b0aa-ea8d45a5c181" providerId="ADAL" clId="{37C96D54-16B4-44B1-B164-EE26854F9527}" dt="2024-05-14T17:29:23.300" v="417" actId="108"/>
          <ac:spMkLst>
            <pc:docMk/>
            <pc:sldMk cId="3220162634" sldId="2147310013"/>
            <ac:spMk id="82" creationId="{96A38D65-A520-E4B2-6D39-8FA4B802799C}"/>
          </ac:spMkLst>
        </pc:spChg>
        <pc:spChg chg="add mod">
          <ac:chgData name="Fernando Enrique Nuñez Zapata" userId="4887fb29-3871-42a7-b0aa-ea8d45a5c181" providerId="ADAL" clId="{37C96D54-16B4-44B1-B164-EE26854F9527}" dt="2024-05-14T17:22:17.480" v="342"/>
          <ac:spMkLst>
            <pc:docMk/>
            <pc:sldMk cId="3220162634" sldId="2147310013"/>
            <ac:spMk id="84" creationId="{B2B1FF46-906B-F452-B3E3-F5D57DE8C6A8}"/>
          </ac:spMkLst>
        </pc:spChg>
        <pc:spChg chg="add mod">
          <ac:chgData name="Fernando Enrique Nuñez Zapata" userId="4887fb29-3871-42a7-b0aa-ea8d45a5c181" providerId="ADAL" clId="{37C96D54-16B4-44B1-B164-EE26854F9527}" dt="2024-05-14T17:23:20.898" v="348" actId="108"/>
          <ac:spMkLst>
            <pc:docMk/>
            <pc:sldMk cId="3220162634" sldId="2147310013"/>
            <ac:spMk id="87" creationId="{114B96F1-3B44-8ED8-AF11-289B620613A1}"/>
          </ac:spMkLst>
        </pc:spChg>
        <pc:spChg chg="add mod">
          <ac:chgData name="Fernando Enrique Nuñez Zapata" userId="4887fb29-3871-42a7-b0aa-ea8d45a5c181" providerId="ADAL" clId="{37C96D54-16B4-44B1-B164-EE26854F9527}" dt="2024-05-14T17:23:18.680" v="347" actId="108"/>
          <ac:spMkLst>
            <pc:docMk/>
            <pc:sldMk cId="3220162634" sldId="2147310013"/>
            <ac:spMk id="88" creationId="{FF92123B-FA9D-07AB-CE9C-C1AE7726C7F7}"/>
          </ac:spMkLst>
        </pc:spChg>
        <pc:spChg chg="add mod">
          <ac:chgData name="Fernando Enrique Nuñez Zapata" userId="4887fb29-3871-42a7-b0aa-ea8d45a5c181" providerId="ADAL" clId="{37C96D54-16B4-44B1-B164-EE26854F9527}" dt="2024-05-14T17:23:34.601" v="351" actId="108"/>
          <ac:spMkLst>
            <pc:docMk/>
            <pc:sldMk cId="3220162634" sldId="2147310013"/>
            <ac:spMk id="89" creationId="{B98B4269-FA14-D553-4156-531EA700DA35}"/>
          </ac:spMkLst>
        </pc:spChg>
        <pc:spChg chg="add mod">
          <ac:chgData name="Fernando Enrique Nuñez Zapata" userId="4887fb29-3871-42a7-b0aa-ea8d45a5c181" providerId="ADAL" clId="{37C96D54-16B4-44B1-B164-EE26854F9527}" dt="2024-05-14T17:23:28.144" v="350" actId="108"/>
          <ac:spMkLst>
            <pc:docMk/>
            <pc:sldMk cId="3220162634" sldId="2147310013"/>
            <ac:spMk id="90" creationId="{97BA4D6B-E28A-87BB-529C-327C327D13CC}"/>
          </ac:spMkLst>
        </pc:spChg>
        <pc:spChg chg="add mod">
          <ac:chgData name="Fernando Enrique Nuñez Zapata" userId="4887fb29-3871-42a7-b0aa-ea8d45a5c181" providerId="ADAL" clId="{37C96D54-16B4-44B1-B164-EE26854F9527}" dt="2024-05-14T17:23:48.027" v="355" actId="108"/>
          <ac:spMkLst>
            <pc:docMk/>
            <pc:sldMk cId="3220162634" sldId="2147310013"/>
            <ac:spMk id="91" creationId="{1C0C23BE-CC67-2157-2854-E6D86C671077}"/>
          </ac:spMkLst>
        </pc:spChg>
        <pc:spChg chg="add mod">
          <ac:chgData name="Fernando Enrique Nuñez Zapata" userId="4887fb29-3871-42a7-b0aa-ea8d45a5c181" providerId="ADAL" clId="{37C96D54-16B4-44B1-B164-EE26854F9527}" dt="2024-05-14T17:23:43.037" v="353" actId="108"/>
          <ac:spMkLst>
            <pc:docMk/>
            <pc:sldMk cId="3220162634" sldId="2147310013"/>
            <ac:spMk id="92" creationId="{91F1991A-CBAB-7154-D826-1D42EC488D94}"/>
          </ac:spMkLst>
        </pc:spChg>
        <pc:spChg chg="add mod">
          <ac:chgData name="Fernando Enrique Nuñez Zapata" userId="4887fb29-3871-42a7-b0aa-ea8d45a5c181" providerId="ADAL" clId="{37C96D54-16B4-44B1-B164-EE26854F9527}" dt="2024-05-14T17:23:23.098" v="349" actId="108"/>
          <ac:spMkLst>
            <pc:docMk/>
            <pc:sldMk cId="3220162634" sldId="2147310013"/>
            <ac:spMk id="93" creationId="{EFAB934A-2FAC-BA27-8CA2-2C961673657E}"/>
          </ac:spMkLst>
        </pc:spChg>
        <pc:spChg chg="add mod">
          <ac:chgData name="Fernando Enrique Nuñez Zapata" userId="4887fb29-3871-42a7-b0aa-ea8d45a5c181" providerId="ADAL" clId="{37C96D54-16B4-44B1-B164-EE26854F9527}" dt="2024-05-14T17:23:37.241" v="352" actId="108"/>
          <ac:spMkLst>
            <pc:docMk/>
            <pc:sldMk cId="3220162634" sldId="2147310013"/>
            <ac:spMk id="94" creationId="{911D8C79-D855-6399-0A02-B53EE2FC71E2}"/>
          </ac:spMkLst>
        </pc:spChg>
        <pc:spChg chg="add mod">
          <ac:chgData name="Fernando Enrique Nuñez Zapata" userId="4887fb29-3871-42a7-b0aa-ea8d45a5c181" providerId="ADAL" clId="{37C96D54-16B4-44B1-B164-EE26854F9527}" dt="2024-05-14T17:23:45.541" v="354" actId="108"/>
          <ac:spMkLst>
            <pc:docMk/>
            <pc:sldMk cId="3220162634" sldId="2147310013"/>
            <ac:spMk id="95" creationId="{4FD7589B-0047-4055-159E-F55B46B41098}"/>
          </ac:spMkLst>
        </pc:spChg>
        <pc:spChg chg="add mod">
          <ac:chgData name="Fernando Enrique Nuñez Zapata" userId="4887fb29-3871-42a7-b0aa-ea8d45a5c181" providerId="ADAL" clId="{37C96D54-16B4-44B1-B164-EE26854F9527}" dt="2024-05-14T17:28:12.159" v="410" actId="108"/>
          <ac:spMkLst>
            <pc:docMk/>
            <pc:sldMk cId="3220162634" sldId="2147310013"/>
            <ac:spMk id="96" creationId="{4188B38D-0560-E63A-2CC6-E07B38CCD3C8}"/>
          </ac:spMkLst>
        </pc:spChg>
        <pc:spChg chg="add mod">
          <ac:chgData name="Fernando Enrique Nuñez Zapata" userId="4887fb29-3871-42a7-b0aa-ea8d45a5c181" providerId="ADAL" clId="{37C96D54-16B4-44B1-B164-EE26854F9527}" dt="2024-05-14T17:28:07.086" v="409" actId="108"/>
          <ac:spMkLst>
            <pc:docMk/>
            <pc:sldMk cId="3220162634" sldId="2147310013"/>
            <ac:spMk id="97" creationId="{0F457F18-4F9E-201F-2D05-8D226B84FA76}"/>
          </ac:spMkLst>
        </pc:spChg>
        <pc:spChg chg="add mod">
          <ac:chgData name="Fernando Enrique Nuñez Zapata" userId="4887fb29-3871-42a7-b0aa-ea8d45a5c181" providerId="ADAL" clId="{37C96D54-16B4-44B1-B164-EE26854F9527}" dt="2024-05-14T17:28:15.071" v="411" actId="108"/>
          <ac:spMkLst>
            <pc:docMk/>
            <pc:sldMk cId="3220162634" sldId="2147310013"/>
            <ac:spMk id="98" creationId="{E3E82535-9FB8-1813-B7BA-043CE58BA6BF}"/>
          </ac:spMkLst>
        </pc:spChg>
        <pc:grpChg chg="mod">
          <ac:chgData name="Fernando Enrique Nuñez Zapata" userId="4887fb29-3871-42a7-b0aa-ea8d45a5c181" providerId="ADAL" clId="{37C96D54-16B4-44B1-B164-EE26854F9527}" dt="2024-05-16T15:23:38.418" v="1494" actId="1038"/>
          <ac:grpSpMkLst>
            <pc:docMk/>
            <pc:sldMk cId="3220162634" sldId="2147310013"/>
            <ac:grpSpMk id="31" creationId="{1DB416D3-DF5E-D3DA-70A1-5AFA3C8D6B36}"/>
          </ac:grpSpMkLst>
        </pc:grpChg>
        <pc:grpChg chg="del mod">
          <ac:chgData name="Fernando Enrique Nuñez Zapata" userId="4887fb29-3871-42a7-b0aa-ea8d45a5c181" providerId="ADAL" clId="{37C96D54-16B4-44B1-B164-EE26854F9527}" dt="2024-05-14T17:22:29.721" v="344" actId="478"/>
          <ac:grpSpMkLst>
            <pc:docMk/>
            <pc:sldMk cId="3220162634" sldId="2147310013"/>
            <ac:grpSpMk id="71" creationId="{FF7209EA-C8C0-A718-795F-D3F9E618D4F4}"/>
          </ac:grpSpMkLst>
        </pc:grpChg>
        <pc:grpChg chg="add mod">
          <ac:chgData name="Fernando Enrique Nuñez Zapata" userId="4887fb29-3871-42a7-b0aa-ea8d45a5c181" providerId="ADAL" clId="{37C96D54-16B4-44B1-B164-EE26854F9527}" dt="2024-05-14T17:22:44.989" v="346"/>
          <ac:grpSpMkLst>
            <pc:docMk/>
            <pc:sldMk cId="3220162634" sldId="2147310013"/>
            <ac:grpSpMk id="100" creationId="{40F1A526-D7B5-8B1C-930F-65535833FD1B}"/>
          </ac:grpSpMkLst>
        </pc:grpChg>
        <pc:graphicFrameChg chg="mod modGraphic">
          <ac:chgData name="Fernando Enrique Nuñez Zapata" userId="4887fb29-3871-42a7-b0aa-ea8d45a5c181" providerId="ADAL" clId="{37C96D54-16B4-44B1-B164-EE26854F9527}" dt="2024-05-16T15:26:56.147" v="1527" actId="20577"/>
          <ac:graphicFrameMkLst>
            <pc:docMk/>
            <pc:sldMk cId="3220162634" sldId="2147310013"/>
            <ac:graphicFrameMk id="7" creationId="{28F7654C-9BC4-62F3-BB2C-27416681D566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22:17.480" v="342"/>
          <ac:graphicFrameMkLst>
            <pc:docMk/>
            <pc:sldMk cId="3220162634" sldId="2147310013"/>
            <ac:graphicFrameMk id="9" creationId="{6CAFEE46-651C-4D5E-688E-AA3C88B6FD69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22:11.282" v="341" actId="478"/>
          <ac:graphicFrameMkLst>
            <pc:docMk/>
            <pc:sldMk cId="3220162634" sldId="2147310013"/>
            <ac:graphicFrameMk id="14" creationId="{7769D7E9-3C10-8AF6-827F-35BBF6905CB5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25:23.399" v="1518" actId="255"/>
          <ac:graphicFrameMkLst>
            <pc:docMk/>
            <pc:sldMk cId="3220162634" sldId="2147310013"/>
            <ac:graphicFrameMk id="17" creationId="{ED1D585B-8D86-CE1C-595A-74C0F43D168B}"/>
          </ac:graphicFrameMkLst>
        </pc:graphicFrameChg>
        <pc:graphicFrameChg chg="mod modGraphic">
          <ac:chgData name="Fernando Enrique Nuñez Zapata" userId="4887fb29-3871-42a7-b0aa-ea8d45a5c181" providerId="ADAL" clId="{37C96D54-16B4-44B1-B164-EE26854F9527}" dt="2024-05-16T15:29:11.080" v="1539" actId="20577"/>
          <ac:graphicFrameMkLst>
            <pc:docMk/>
            <pc:sldMk cId="3220162634" sldId="2147310013"/>
            <ac:graphicFrameMk id="18" creationId="{D710D321-6E73-A9B7-385B-8DB2F1C55AB5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20:31:33.079" v="1170" actId="20577"/>
          <ac:graphicFrameMkLst>
            <pc:docMk/>
            <pc:sldMk cId="3220162634" sldId="2147310013"/>
            <ac:graphicFrameMk id="24" creationId="{1F63B92A-AAF5-96C2-6880-F383DEA45B0D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22:11.282" v="341" actId="478"/>
          <ac:graphicFrameMkLst>
            <pc:docMk/>
            <pc:sldMk cId="3220162634" sldId="2147310013"/>
            <ac:graphicFrameMk id="41" creationId="{4CF19EB1-6B53-88BC-3AD3-34E957F9A87E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22:11.282" v="341" actId="478"/>
          <ac:graphicFrameMkLst>
            <pc:docMk/>
            <pc:sldMk cId="3220162634" sldId="2147310013"/>
            <ac:graphicFrameMk id="42" creationId="{DF06844F-3A85-AD17-9491-304085CAA132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22:17.480" v="342"/>
          <ac:graphicFrameMkLst>
            <pc:docMk/>
            <pc:sldMk cId="3220162634" sldId="2147310013"/>
            <ac:graphicFrameMk id="61" creationId="{F80C53DB-1346-9B12-6010-601F74E865A3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17:22:17.480" v="342"/>
          <ac:graphicFrameMkLst>
            <pc:docMk/>
            <pc:sldMk cId="3220162634" sldId="2147310013"/>
            <ac:graphicFrameMk id="83" creationId="{078028E8-7344-67A2-47F9-81298AFE5B2F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17:22:11.282" v="341" actId="478"/>
          <ac:graphicFrameMkLst>
            <pc:docMk/>
            <pc:sldMk cId="3220162634" sldId="2147310013"/>
            <ac:graphicFrameMk id="86" creationId="{03CB68EE-36FB-0EDC-36E2-2186BF0D1B21}"/>
          </ac:graphicFrameMkLst>
        </pc:graphicFrameChg>
        <pc:cxnChg chg="mod">
          <ac:chgData name="Fernando Enrique Nuñez Zapata" userId="4887fb29-3871-42a7-b0aa-ea8d45a5c181" providerId="ADAL" clId="{37C96D54-16B4-44B1-B164-EE26854F9527}" dt="2024-05-16T15:23:38.418" v="1494" actId="1038"/>
          <ac:cxnSpMkLst>
            <pc:docMk/>
            <pc:sldMk cId="3220162634" sldId="2147310013"/>
            <ac:cxnSpMk id="26" creationId="{E5E3E115-6167-D937-90F3-8C6C0A2B3840}"/>
          </ac:cxnSpMkLst>
        </pc:cxnChg>
        <pc:cxnChg chg="del">
          <ac:chgData name="Fernando Enrique Nuñez Zapata" userId="4887fb29-3871-42a7-b0aa-ea8d45a5c181" providerId="ADAL" clId="{37C96D54-16B4-44B1-B164-EE26854F9527}" dt="2024-05-14T17:22:32.088" v="345" actId="478"/>
          <ac:cxnSpMkLst>
            <pc:docMk/>
            <pc:sldMk cId="3220162634" sldId="2147310013"/>
            <ac:cxnSpMk id="51" creationId="{C206E334-3B8E-C988-A1A2-955D965AC5FD}"/>
          </ac:cxnSpMkLst>
        </pc:cxnChg>
        <pc:cxnChg chg="add mod">
          <ac:chgData name="Fernando Enrique Nuñez Zapata" userId="4887fb29-3871-42a7-b0aa-ea8d45a5c181" providerId="ADAL" clId="{37C96D54-16B4-44B1-B164-EE26854F9527}" dt="2024-05-14T17:22:44.989" v="346"/>
          <ac:cxnSpMkLst>
            <pc:docMk/>
            <pc:sldMk cId="3220162634" sldId="2147310013"/>
            <ac:cxnSpMk id="99" creationId="{C02670AE-9261-CA3F-F9D0-DD8729B1D1B0}"/>
          </ac:cxnSpMkLst>
        </pc:cxnChg>
        <pc:cxnChg chg="mod">
          <ac:chgData name="Fernando Enrique Nuñez Zapata" userId="4887fb29-3871-42a7-b0aa-ea8d45a5c181" providerId="ADAL" clId="{37C96D54-16B4-44B1-B164-EE26854F9527}" dt="2024-05-14T17:22:44.989" v="346"/>
          <ac:cxnSpMkLst>
            <pc:docMk/>
            <pc:sldMk cId="3220162634" sldId="2147310013"/>
            <ac:cxnSpMk id="101" creationId="{26946342-37E0-089E-F168-B8CE87F4B3CB}"/>
          </ac:cxnSpMkLst>
        </pc:cxnChg>
        <pc:cxnChg chg="mod">
          <ac:chgData name="Fernando Enrique Nuñez Zapata" userId="4887fb29-3871-42a7-b0aa-ea8d45a5c181" providerId="ADAL" clId="{37C96D54-16B4-44B1-B164-EE26854F9527}" dt="2024-05-14T17:22:44.989" v="346"/>
          <ac:cxnSpMkLst>
            <pc:docMk/>
            <pc:sldMk cId="3220162634" sldId="2147310013"/>
            <ac:cxnSpMk id="102" creationId="{0A9B6C2D-89CB-F1FD-6867-2C9B158A45DF}"/>
          </ac:cxnSpMkLst>
        </pc:cxnChg>
        <pc:cxnChg chg="mod">
          <ac:chgData name="Fernando Enrique Nuñez Zapata" userId="4887fb29-3871-42a7-b0aa-ea8d45a5c181" providerId="ADAL" clId="{37C96D54-16B4-44B1-B164-EE26854F9527}" dt="2024-05-14T17:22:44.989" v="346"/>
          <ac:cxnSpMkLst>
            <pc:docMk/>
            <pc:sldMk cId="3220162634" sldId="2147310013"/>
            <ac:cxnSpMk id="103" creationId="{015DE841-8808-8A29-35CB-5A5380190F84}"/>
          </ac:cxnSpMkLst>
        </pc:cxnChg>
      </pc:sldChg>
      <pc:sldChg chg="add del">
        <pc:chgData name="Fernando Enrique Nuñez Zapata" userId="4887fb29-3871-42a7-b0aa-ea8d45a5c181" providerId="ADAL" clId="{37C96D54-16B4-44B1-B164-EE26854F9527}" dt="2024-05-14T17:21:48.389" v="339" actId="47"/>
        <pc:sldMkLst>
          <pc:docMk/>
          <pc:sldMk cId="1279610659" sldId="2147310021"/>
        </pc:sldMkLst>
      </pc:sldChg>
      <pc:sldChg chg="add del">
        <pc:chgData name="Fernando Enrique Nuñez Zapata" userId="4887fb29-3871-42a7-b0aa-ea8d45a5c181" providerId="ADAL" clId="{37C96D54-16B4-44B1-B164-EE26854F9527}" dt="2024-05-14T17:08:53.609" v="230" actId="47"/>
        <pc:sldMkLst>
          <pc:docMk/>
          <pc:sldMk cId="1411336329" sldId="2147310021"/>
        </pc:sldMkLst>
      </pc:sldChg>
      <pc:sldChg chg="add del">
        <pc:chgData name="Fernando Enrique Nuñez Zapata" userId="4887fb29-3871-42a7-b0aa-ea8d45a5c181" providerId="ADAL" clId="{37C96D54-16B4-44B1-B164-EE26854F9527}" dt="2024-05-14T17:27:55.565" v="408" actId="47"/>
        <pc:sldMkLst>
          <pc:docMk/>
          <pc:sldMk cId="4264820307" sldId="2147310021"/>
        </pc:sldMkLst>
      </pc:sldChg>
      <pc:sldChg chg="addSp delSp modSp add del mod addAnim delAnim modAnim">
        <pc:chgData name="Fernando Enrique Nuñez Zapata" userId="4887fb29-3871-42a7-b0aa-ea8d45a5c181" providerId="ADAL" clId="{37C96D54-16B4-44B1-B164-EE26854F9527}" dt="2024-05-16T15:53:23.604" v="1559"/>
        <pc:sldMkLst>
          <pc:docMk/>
          <pc:sldMk cId="151272569" sldId="2147310022"/>
        </pc:sldMkLst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4" creationId="{6444A3A9-0DDE-AA49-68A7-2A9AE70B6CF2}"/>
          </ac:spMkLst>
        </pc:spChg>
        <pc:spChg chg="add del mod">
          <ac:chgData name="Fernando Enrique Nuñez Zapata" userId="4887fb29-3871-42a7-b0aa-ea8d45a5c181" providerId="ADAL" clId="{37C96D54-16B4-44B1-B164-EE26854F9527}" dt="2024-05-14T20:13:21.466" v="696" actId="108"/>
          <ac:spMkLst>
            <pc:docMk/>
            <pc:sldMk cId="151272569" sldId="2147310022"/>
            <ac:spMk id="7" creationId="{81D4CF55-9171-0DE7-B986-2DB289DF6F43}"/>
          </ac:spMkLst>
        </pc:spChg>
        <pc:spChg chg="add del mod">
          <ac:chgData name="Fernando Enrique Nuñez Zapata" userId="4887fb29-3871-42a7-b0aa-ea8d45a5c181" providerId="ADAL" clId="{37C96D54-16B4-44B1-B164-EE26854F9527}" dt="2024-05-14T20:13:33.190" v="700" actId="108"/>
          <ac:spMkLst>
            <pc:docMk/>
            <pc:sldMk cId="151272569" sldId="2147310022"/>
            <ac:spMk id="8" creationId="{2C4A1121-176F-46C6-1547-7266DC699961}"/>
          </ac:spMkLst>
        </pc:spChg>
        <pc:spChg chg="add del mod">
          <ac:chgData name="Fernando Enrique Nuñez Zapata" userId="4887fb29-3871-42a7-b0aa-ea8d45a5c181" providerId="ADAL" clId="{37C96D54-16B4-44B1-B164-EE26854F9527}" dt="2024-05-14T20:07:07.131" v="627" actId="1035"/>
          <ac:spMkLst>
            <pc:docMk/>
            <pc:sldMk cId="151272569" sldId="2147310022"/>
            <ac:spMk id="9" creationId="{2AC47C44-3308-AE9D-36B2-988B8C8B975F}"/>
          </ac:spMkLst>
        </pc:spChg>
        <pc:spChg chg="del">
          <ac:chgData name="Fernando Enrique Nuñez Zapata" userId="4887fb29-3871-42a7-b0aa-ea8d45a5c181" providerId="ADAL" clId="{37C96D54-16B4-44B1-B164-EE26854F9527}" dt="2024-05-14T20:11:18.551" v="682" actId="478"/>
          <ac:spMkLst>
            <pc:docMk/>
            <pc:sldMk cId="151272569" sldId="2147310022"/>
            <ac:spMk id="11" creationId="{BF7E27F8-7A0D-4A86-4B0B-AA6F0ED668D8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12" creationId="{CB008EDC-CC8C-5B8D-C7EE-8C37A604E01E}"/>
          </ac:spMkLst>
        </pc:spChg>
        <pc:spChg chg="del">
          <ac:chgData name="Fernando Enrique Nuñez Zapata" userId="4887fb29-3871-42a7-b0aa-ea8d45a5c181" providerId="ADAL" clId="{37C96D54-16B4-44B1-B164-EE26854F9527}" dt="2024-05-14T20:11:21.894" v="684" actId="478"/>
          <ac:spMkLst>
            <pc:docMk/>
            <pc:sldMk cId="151272569" sldId="2147310022"/>
            <ac:spMk id="13" creationId="{F33BDC8E-097E-59B7-0D5D-C9D3E7AB51BE}"/>
          </ac:spMkLst>
        </pc:spChg>
        <pc:spChg chg="del">
          <ac:chgData name="Fernando Enrique Nuñez Zapata" userId="4887fb29-3871-42a7-b0aa-ea8d45a5c181" providerId="ADAL" clId="{37C96D54-16B4-44B1-B164-EE26854F9527}" dt="2024-05-14T20:11:23.877" v="685" actId="478"/>
          <ac:spMkLst>
            <pc:docMk/>
            <pc:sldMk cId="151272569" sldId="2147310022"/>
            <ac:spMk id="17" creationId="{33F4E995-A9EA-ABF8-3A1F-6981513931E6}"/>
          </ac:spMkLst>
        </pc:spChg>
        <pc:spChg chg="del">
          <ac:chgData name="Fernando Enrique Nuñez Zapata" userId="4887fb29-3871-42a7-b0aa-ea8d45a5c181" providerId="ADAL" clId="{37C96D54-16B4-44B1-B164-EE26854F9527}" dt="2024-05-14T20:11:26.887" v="687" actId="478"/>
          <ac:spMkLst>
            <pc:docMk/>
            <pc:sldMk cId="151272569" sldId="2147310022"/>
            <ac:spMk id="20" creationId="{6180F7B8-B4F0-FC56-AAB2-B1AAE04A98FB}"/>
          </ac:spMkLst>
        </pc:spChg>
        <pc:spChg chg="del">
          <ac:chgData name="Fernando Enrique Nuñez Zapata" userId="4887fb29-3871-42a7-b0aa-ea8d45a5c181" providerId="ADAL" clId="{37C96D54-16B4-44B1-B164-EE26854F9527}" dt="2024-05-14T20:11:30.978" v="690" actId="478"/>
          <ac:spMkLst>
            <pc:docMk/>
            <pc:sldMk cId="151272569" sldId="2147310022"/>
            <ac:spMk id="21" creationId="{6D6B7302-CA04-1227-C548-2766CCC8835D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23" creationId="{06E906D6-726E-F024-92D0-AE0D8C1887EC}"/>
          </ac:spMkLst>
        </pc:spChg>
        <pc:spChg chg="mod">
          <ac:chgData name="Fernando Enrique Nuñez Zapata" userId="4887fb29-3871-42a7-b0aa-ea8d45a5c181" providerId="ADAL" clId="{37C96D54-16B4-44B1-B164-EE26854F9527}" dt="2024-05-14T20:18:31.630" v="777" actId="1036"/>
          <ac:spMkLst>
            <pc:docMk/>
            <pc:sldMk cId="151272569" sldId="2147310022"/>
            <ac:spMk id="25" creationId="{D7AAA86A-5B91-7BE5-89D7-7DB24BA2F8CF}"/>
          </ac:spMkLst>
        </pc:spChg>
        <pc:spChg chg="mod">
          <ac:chgData name="Fernando Enrique Nuñez Zapata" userId="4887fb29-3871-42a7-b0aa-ea8d45a5c181" providerId="ADAL" clId="{37C96D54-16B4-44B1-B164-EE26854F9527}" dt="2024-05-14T20:18:09.130" v="745" actId="1038"/>
          <ac:spMkLst>
            <pc:docMk/>
            <pc:sldMk cId="151272569" sldId="2147310022"/>
            <ac:spMk id="26" creationId="{85615E1C-DE63-43E7-C7D8-2A2CB1FF5623}"/>
          </ac:spMkLst>
        </pc:spChg>
        <pc:spChg chg="mod">
          <ac:chgData name="Fernando Enrique Nuñez Zapata" userId="4887fb29-3871-42a7-b0aa-ea8d45a5c181" providerId="ADAL" clId="{37C96D54-16B4-44B1-B164-EE26854F9527}" dt="2024-05-14T20:18:09.130" v="745" actId="1038"/>
          <ac:spMkLst>
            <pc:docMk/>
            <pc:sldMk cId="151272569" sldId="2147310022"/>
            <ac:spMk id="28" creationId="{76DA5E75-2F4A-458A-7318-C5527161718F}"/>
          </ac:spMkLst>
        </pc:spChg>
        <pc:spChg chg="add del mod">
          <ac:chgData name="Fernando Enrique Nuñez Zapata" userId="4887fb29-3871-42a7-b0aa-ea8d45a5c181" providerId="ADAL" clId="{37C96D54-16B4-44B1-B164-EE26854F9527}" dt="2024-05-14T20:06:07.385" v="526" actId="1036"/>
          <ac:spMkLst>
            <pc:docMk/>
            <pc:sldMk cId="151272569" sldId="2147310022"/>
            <ac:spMk id="29" creationId="{9BA19072-525D-A09B-CB62-E81CDC4C1BF1}"/>
          </ac:spMkLst>
        </pc:spChg>
        <pc:spChg chg="mod">
          <ac:chgData name="Fernando Enrique Nuñez Zapata" userId="4887fb29-3871-42a7-b0aa-ea8d45a5c181" providerId="ADAL" clId="{37C96D54-16B4-44B1-B164-EE26854F9527}" dt="2024-05-14T20:18:09.130" v="745" actId="1038"/>
          <ac:spMkLst>
            <pc:docMk/>
            <pc:sldMk cId="151272569" sldId="2147310022"/>
            <ac:spMk id="31" creationId="{B883B7C0-3A2E-CB19-2573-04E078D82F7B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32" creationId="{5CD7844E-55FD-017F-FFC0-FB10210EE81E}"/>
          </ac:spMkLst>
        </pc:spChg>
        <pc:spChg chg="add del mod">
          <ac:chgData name="Fernando Enrique Nuñez Zapata" userId="4887fb29-3871-42a7-b0aa-ea8d45a5c181" providerId="ADAL" clId="{37C96D54-16B4-44B1-B164-EE26854F9527}" dt="2024-05-14T20:06:29.140" v="554" actId="1036"/>
          <ac:spMkLst>
            <pc:docMk/>
            <pc:sldMk cId="151272569" sldId="2147310022"/>
            <ac:spMk id="34" creationId="{62225B2F-8A93-7EB9-4CDF-BE68A3373E93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35" creationId="{B6C9FFDD-7130-5F49-F9A5-5683E0EAF527}"/>
          </ac:spMkLst>
        </pc:spChg>
        <pc:spChg chg="mod">
          <ac:chgData name="Fernando Enrique Nuñez Zapata" userId="4887fb29-3871-42a7-b0aa-ea8d45a5c181" providerId="ADAL" clId="{37C96D54-16B4-44B1-B164-EE26854F9527}" dt="2024-05-14T20:18:53.218" v="835" actId="1035"/>
          <ac:spMkLst>
            <pc:docMk/>
            <pc:sldMk cId="151272569" sldId="2147310022"/>
            <ac:spMk id="36" creationId="{2278432E-B496-6B80-571F-6FAA98253981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37" creationId="{63389472-3A11-1549-00BD-85C6A8AA8906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38" creationId="{5FBD44EC-4FEC-FDB1-00D1-4E2746384A9A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39" creationId="{A49A26E8-3AAF-657A-D490-CF7B1F63549B}"/>
          </ac:spMkLst>
        </pc:spChg>
        <pc:spChg chg="mod">
          <ac:chgData name="Fernando Enrique Nuñez Zapata" userId="4887fb29-3871-42a7-b0aa-ea8d45a5c181" providerId="ADAL" clId="{37C96D54-16B4-44B1-B164-EE26854F9527}" dt="2024-05-14T20:18:31.630" v="777" actId="1036"/>
          <ac:spMkLst>
            <pc:docMk/>
            <pc:sldMk cId="151272569" sldId="2147310022"/>
            <ac:spMk id="40" creationId="{EB1A648A-FF8B-807E-0834-C3AFF1B4D4D7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43" creationId="{C0917BFE-F0A4-114C-BFBB-7FE040133612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44" creationId="{62841CEB-E962-153C-E344-86FEF42A3DC6}"/>
          </ac:spMkLst>
        </pc:spChg>
        <pc:spChg chg="add del mod">
          <ac:chgData name="Fernando Enrique Nuñez Zapata" userId="4887fb29-3871-42a7-b0aa-ea8d45a5c181" providerId="ADAL" clId="{37C96D54-16B4-44B1-B164-EE26854F9527}" dt="2024-05-14T20:07:02.454" v="620" actId="1035"/>
          <ac:spMkLst>
            <pc:docMk/>
            <pc:sldMk cId="151272569" sldId="2147310022"/>
            <ac:spMk id="45" creationId="{47D43CEE-CCC3-1D50-B7E4-20476A3530B0}"/>
          </ac:spMkLst>
        </pc:spChg>
        <pc:spChg chg="add del mod">
          <ac:chgData name="Fernando Enrique Nuñez Zapata" userId="4887fb29-3871-42a7-b0aa-ea8d45a5c181" providerId="ADAL" clId="{37C96D54-16B4-44B1-B164-EE26854F9527}" dt="2024-05-14T20:08:21.930" v="658" actId="1036"/>
          <ac:spMkLst>
            <pc:docMk/>
            <pc:sldMk cId="151272569" sldId="2147310022"/>
            <ac:spMk id="46" creationId="{09978572-8D36-4EA0-3E65-25FDC305DD6B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47" creationId="{76856DD7-09AE-5141-567C-EDB23C4C05F0}"/>
          </ac:spMkLst>
        </pc:spChg>
        <pc:spChg chg="mod">
          <ac:chgData name="Fernando Enrique Nuñez Zapata" userId="4887fb29-3871-42a7-b0aa-ea8d45a5c181" providerId="ADAL" clId="{37C96D54-16B4-44B1-B164-EE26854F9527}" dt="2024-05-14T20:08:05.636" v="650" actId="1036"/>
          <ac:spMkLst>
            <pc:docMk/>
            <pc:sldMk cId="151272569" sldId="2147310022"/>
            <ac:spMk id="49" creationId="{A223CEF7-5D5E-EBEE-AF3C-3FFAC4ACA338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50" creationId="{1FE36FAD-8FF6-7D37-FD2B-DC85DCC548CC}"/>
          </ac:spMkLst>
        </pc:spChg>
        <pc:spChg chg="mod">
          <ac:chgData name="Fernando Enrique Nuñez Zapata" userId="4887fb29-3871-42a7-b0aa-ea8d45a5c181" providerId="ADAL" clId="{37C96D54-16B4-44B1-B164-EE26854F9527}" dt="2024-05-14T20:18:53.218" v="835" actId="1035"/>
          <ac:spMkLst>
            <pc:docMk/>
            <pc:sldMk cId="151272569" sldId="2147310022"/>
            <ac:spMk id="51" creationId="{1D9334C2-4918-4FDD-5776-2056A9B5C661}"/>
          </ac:spMkLst>
        </pc:spChg>
        <pc:spChg chg="mod">
          <ac:chgData name="Fernando Enrique Nuñez Zapata" userId="4887fb29-3871-42a7-b0aa-ea8d45a5c181" providerId="ADAL" clId="{37C96D54-16B4-44B1-B164-EE26854F9527}" dt="2024-05-14T20:26:53.201" v="844" actId="108"/>
          <ac:spMkLst>
            <pc:docMk/>
            <pc:sldMk cId="151272569" sldId="2147310022"/>
            <ac:spMk id="56" creationId="{EB008895-CA4F-75C5-2396-BDE2908B5FA1}"/>
          </ac:spMkLst>
        </pc:spChg>
        <pc:spChg chg="mod">
          <ac:chgData name="Fernando Enrique Nuñez Zapata" userId="4887fb29-3871-42a7-b0aa-ea8d45a5c181" providerId="ADAL" clId="{37C96D54-16B4-44B1-B164-EE26854F9527}" dt="2024-05-14T20:26:48.592" v="843" actId="108"/>
          <ac:spMkLst>
            <pc:docMk/>
            <pc:sldMk cId="151272569" sldId="2147310022"/>
            <ac:spMk id="57" creationId="{78B8356A-B8A9-DFB9-3124-30D6F65BAC18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58" creationId="{B49DB974-8D71-D341-879D-C2E68967A8B5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59" creationId="{D20891B5-2CA6-26AB-BCBA-F4BF19BC9976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60" creationId="{4D997D73-D270-64A0-C12F-F27FC8458D30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61" creationId="{E5C3AA59-00E3-36E7-B589-DF97A60A7298}"/>
          </ac:spMkLst>
        </pc:spChg>
        <pc:spChg chg="add del mod">
          <ac:chgData name="Fernando Enrique Nuñez Zapata" userId="4887fb29-3871-42a7-b0aa-ea8d45a5c181" providerId="ADAL" clId="{37C96D54-16B4-44B1-B164-EE26854F9527}" dt="2024-05-14T20:13:18.183" v="695" actId="108"/>
          <ac:spMkLst>
            <pc:docMk/>
            <pc:sldMk cId="151272569" sldId="2147310022"/>
            <ac:spMk id="62" creationId="{464D42AC-6496-AF6F-945C-5CB200EC48B9}"/>
          </ac:spMkLst>
        </pc:spChg>
        <pc:spChg chg="add del mod">
          <ac:chgData name="Fernando Enrique Nuñez Zapata" userId="4887fb29-3871-42a7-b0aa-ea8d45a5c181" providerId="ADAL" clId="{37C96D54-16B4-44B1-B164-EE26854F9527}" dt="2024-05-14T20:10:48.269" v="680" actId="108"/>
          <ac:spMkLst>
            <pc:docMk/>
            <pc:sldMk cId="151272569" sldId="2147310022"/>
            <ac:spMk id="63" creationId="{1C2FA56A-CD77-96AA-0C96-3D377C736F72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64" creationId="{9E97F7B1-2706-BB45-7F42-D311F16DBABE}"/>
          </ac:spMkLst>
        </pc:spChg>
        <pc:spChg chg="mod">
          <ac:chgData name="Fernando Enrique Nuñez Zapata" userId="4887fb29-3871-42a7-b0aa-ea8d45a5c181" providerId="ADAL" clId="{37C96D54-16B4-44B1-B164-EE26854F9527}" dt="2024-05-14T20:18:42.482" v="806" actId="1035"/>
          <ac:spMkLst>
            <pc:docMk/>
            <pc:sldMk cId="151272569" sldId="2147310022"/>
            <ac:spMk id="65" creationId="{5547D046-70A4-0669-81EB-6FD7DA7F25F1}"/>
          </ac:spMkLst>
        </pc:spChg>
        <pc:spChg chg="mod">
          <ac:chgData name="Fernando Enrique Nuñez Zapata" userId="4887fb29-3871-42a7-b0aa-ea8d45a5c181" providerId="ADAL" clId="{37C96D54-16B4-44B1-B164-EE26854F9527}" dt="2024-05-14T20:18:53.218" v="835" actId="1035"/>
          <ac:spMkLst>
            <pc:docMk/>
            <pc:sldMk cId="151272569" sldId="2147310022"/>
            <ac:spMk id="66" creationId="{838EA762-DABA-99F8-35A4-DD640BC3624B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68" creationId="{21DD3031-DAD9-70BD-F344-A7FE04397462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69" creationId="{FF4C3646-946C-4F3B-B340-9FDD61DAB838}"/>
          </ac:spMkLst>
        </pc:spChg>
        <pc:spChg chg="add del mod">
          <ac:chgData name="Fernando Enrique Nuñez Zapata" userId="4887fb29-3871-42a7-b0aa-ea8d45a5c181" providerId="ADAL" clId="{37C96D54-16B4-44B1-B164-EE26854F9527}" dt="2024-05-14T20:13:24.411" v="697" actId="108"/>
          <ac:spMkLst>
            <pc:docMk/>
            <pc:sldMk cId="151272569" sldId="2147310022"/>
            <ac:spMk id="70" creationId="{213AA14C-6C69-90D4-21C5-B0CD103F0905}"/>
          </ac:spMkLst>
        </pc:spChg>
        <pc:spChg chg="add del mod">
          <ac:chgData name="Fernando Enrique Nuñez Zapata" userId="4887fb29-3871-42a7-b0aa-ea8d45a5c181" providerId="ADAL" clId="{37C96D54-16B4-44B1-B164-EE26854F9527}" dt="2024-05-14T20:13:30.314" v="699" actId="108"/>
          <ac:spMkLst>
            <pc:docMk/>
            <pc:sldMk cId="151272569" sldId="2147310022"/>
            <ac:spMk id="73" creationId="{EC416F30-7FA5-9387-DF39-4E3A3EF7EF12}"/>
          </ac:spMkLst>
        </pc:spChg>
        <pc:spChg chg="add del mod">
          <ac:chgData name="Fernando Enrique Nuñez Zapata" userId="4887fb29-3871-42a7-b0aa-ea8d45a5c181" providerId="ADAL" clId="{37C96D54-16B4-44B1-B164-EE26854F9527}" dt="2024-05-14T20:07:07.131" v="627" actId="1035"/>
          <ac:spMkLst>
            <pc:docMk/>
            <pc:sldMk cId="151272569" sldId="2147310022"/>
            <ac:spMk id="75" creationId="{35976E90-D02C-D9C0-58A3-C1E49EE09371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77" creationId="{A51B4472-76C5-F284-AA69-F0528B162640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78" creationId="{66B76234-5F02-A231-AE77-C17E35807B12}"/>
          </ac:spMkLst>
        </pc:spChg>
        <pc:spChg chg="add del mod">
          <ac:chgData name="Fernando Enrique Nuñez Zapata" userId="4887fb29-3871-42a7-b0aa-ea8d45a5c181" providerId="ADAL" clId="{37C96D54-16B4-44B1-B164-EE26854F9527}" dt="2024-05-14T20:13:39.970" v="702" actId="108"/>
          <ac:spMkLst>
            <pc:docMk/>
            <pc:sldMk cId="151272569" sldId="2147310022"/>
            <ac:spMk id="79" creationId="{6E25E468-AAD7-5143-AA16-BFB8B7153B8D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80" creationId="{3B4B5569-8A96-E1A7-835A-119F6661426C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81" creationId="{8CED341C-8304-C198-7B65-8A2F371DD28B}"/>
          </ac:spMkLst>
        </pc:spChg>
        <pc:spChg chg="add del">
          <ac:chgData name="Fernando Enrique Nuñez Zapata" userId="4887fb29-3871-42a7-b0aa-ea8d45a5c181" providerId="ADAL" clId="{37C96D54-16B4-44B1-B164-EE26854F9527}" dt="2024-05-14T20:05:48.322" v="508" actId="478"/>
          <ac:spMkLst>
            <pc:docMk/>
            <pc:sldMk cId="151272569" sldId="2147310022"/>
            <ac:spMk id="82" creationId="{F086724A-8BE1-D3DF-6507-345B4EE956AB}"/>
          </ac:spMkLst>
        </pc:spChg>
        <pc:spChg chg="add del mod">
          <ac:chgData name="Fernando Enrique Nuñez Zapata" userId="4887fb29-3871-42a7-b0aa-ea8d45a5c181" providerId="ADAL" clId="{37C96D54-16B4-44B1-B164-EE26854F9527}" dt="2024-05-14T20:13:15.456" v="694" actId="108"/>
          <ac:spMkLst>
            <pc:docMk/>
            <pc:sldMk cId="151272569" sldId="2147310022"/>
            <ac:spMk id="83" creationId="{BD8B9C89-37DB-EAA7-AD36-2B8F817CC88C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84" creationId="{A54660C2-9187-ABCF-93C5-3708BD4D89AB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85" creationId="{8FD4A22A-8054-4A63-C285-8A2673AB0E99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86" creationId="{7364CCE0-75D3-919B-F4E8-4DAE4C49D348}"/>
          </ac:spMkLst>
        </pc:spChg>
        <pc:spChg chg="add del mod">
          <ac:chgData name="Fernando Enrique Nuñez Zapata" userId="4887fb29-3871-42a7-b0aa-ea8d45a5c181" providerId="ADAL" clId="{37C96D54-16B4-44B1-B164-EE26854F9527}" dt="2024-05-14T20:07:07.131" v="627" actId="1035"/>
          <ac:spMkLst>
            <pc:docMk/>
            <pc:sldMk cId="151272569" sldId="2147310022"/>
            <ac:spMk id="87" creationId="{1F2C6625-4F5F-C424-774E-87FF9F37D0D7}"/>
          </ac:spMkLst>
        </pc:spChg>
        <pc:spChg chg="add del mod">
          <ac:chgData name="Fernando Enrique Nuñez Zapata" userId="4887fb29-3871-42a7-b0aa-ea8d45a5c181" providerId="ADAL" clId="{37C96D54-16B4-44B1-B164-EE26854F9527}" dt="2024-05-14T20:16:06.812" v="715" actId="108"/>
          <ac:spMkLst>
            <pc:docMk/>
            <pc:sldMk cId="151272569" sldId="2147310022"/>
            <ac:spMk id="88" creationId="{DAAF5172-1598-5A5A-0BEA-D7F390B7797C}"/>
          </ac:spMkLst>
        </pc:spChg>
        <pc:spChg chg="add del mod">
          <ac:chgData name="Fernando Enrique Nuñez Zapata" userId="4887fb29-3871-42a7-b0aa-ea8d45a5c181" providerId="ADAL" clId="{37C96D54-16B4-44B1-B164-EE26854F9527}" dt="2024-05-14T20:13:27.401" v="698" actId="108"/>
          <ac:spMkLst>
            <pc:docMk/>
            <pc:sldMk cId="151272569" sldId="2147310022"/>
            <ac:spMk id="89" creationId="{F2FB6392-1CC4-2ED3-6585-13D7B3216445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90" creationId="{D4997793-6BAB-912C-3C07-DE3F43EF03FF}"/>
          </ac:spMkLst>
        </pc:spChg>
        <pc:spChg chg="add del mod">
          <ac:chgData name="Fernando Enrique Nuñez Zapata" userId="4887fb29-3871-42a7-b0aa-ea8d45a5c181" providerId="ADAL" clId="{37C96D54-16B4-44B1-B164-EE26854F9527}" dt="2024-05-14T20:08:38.041" v="671" actId="1036"/>
          <ac:spMkLst>
            <pc:docMk/>
            <pc:sldMk cId="151272569" sldId="2147310022"/>
            <ac:spMk id="91" creationId="{A37B2754-604C-AE41-B4E8-E17E361D1BD9}"/>
          </ac:spMkLst>
        </pc:spChg>
        <pc:spChg chg="add del mod">
          <ac:chgData name="Fernando Enrique Nuñez Zapata" userId="4887fb29-3871-42a7-b0aa-ea8d45a5c181" providerId="ADAL" clId="{37C96D54-16B4-44B1-B164-EE26854F9527}" dt="2024-05-14T20:13:46.185" v="704" actId="108"/>
          <ac:spMkLst>
            <pc:docMk/>
            <pc:sldMk cId="151272569" sldId="2147310022"/>
            <ac:spMk id="92" creationId="{7190BD6F-094A-EBAD-D11F-1F14BAB939E5}"/>
          </ac:spMkLst>
        </pc:spChg>
        <pc:spChg chg="add del mod">
          <ac:chgData name="Fernando Enrique Nuñez Zapata" userId="4887fb29-3871-42a7-b0aa-ea8d45a5c181" providerId="ADAL" clId="{37C96D54-16B4-44B1-B164-EE26854F9527}" dt="2024-05-14T20:13:43.461" v="703" actId="108"/>
          <ac:spMkLst>
            <pc:docMk/>
            <pc:sldMk cId="151272569" sldId="2147310022"/>
            <ac:spMk id="93" creationId="{1B9443A7-5183-F442-AF8C-C022FCE1C3AC}"/>
          </ac:spMkLst>
        </pc:spChg>
        <pc:spChg chg="add del mod">
          <ac:chgData name="Fernando Enrique Nuñez Zapata" userId="4887fb29-3871-42a7-b0aa-ea8d45a5c181" providerId="ADAL" clId="{37C96D54-16B4-44B1-B164-EE26854F9527}" dt="2024-05-14T20:13:37.065" v="701" actId="108"/>
          <ac:spMkLst>
            <pc:docMk/>
            <pc:sldMk cId="151272569" sldId="2147310022"/>
            <ac:spMk id="94" creationId="{AEE4DBAD-CD24-414E-5FE7-6A5745706428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96" creationId="{5BF14B89-8A7A-20EE-2A3A-6B6075CDEB6C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97" creationId="{81522C1B-AF9A-3CE0-8F2F-92308CE4B147}"/>
          </ac:spMkLst>
        </pc:spChg>
        <pc:spChg chg="mod">
          <ac:chgData name="Fernando Enrique Nuñez Zapata" userId="4887fb29-3871-42a7-b0aa-ea8d45a5c181" providerId="ADAL" clId="{37C96D54-16B4-44B1-B164-EE26854F9527}" dt="2024-05-14T20:18:22.508" v="756" actId="1037"/>
          <ac:spMkLst>
            <pc:docMk/>
            <pc:sldMk cId="151272569" sldId="2147310022"/>
            <ac:spMk id="98" creationId="{AD3121FA-7BDE-A748-34A4-D9BC73A95171}"/>
          </ac:spMkLst>
        </pc:spChg>
        <pc:spChg chg="mod">
          <ac:chgData name="Fernando Enrique Nuñez Zapata" userId="4887fb29-3871-42a7-b0aa-ea8d45a5c181" providerId="ADAL" clId="{37C96D54-16B4-44B1-B164-EE26854F9527}" dt="2024-05-14T20:18:09.130" v="745" actId="1038"/>
          <ac:spMkLst>
            <pc:docMk/>
            <pc:sldMk cId="151272569" sldId="2147310022"/>
            <ac:spMk id="99" creationId="{BA1744B0-793C-830A-6270-BE161D6AB8DB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0" creationId="{96987025-E96B-C8EA-172A-5D5EEBAB98C6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1" creationId="{29754035-0A57-BFE0-37B1-63F1FFA57153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2" creationId="{021A610C-44F2-887D-D21A-B5F0B0616CA2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3" creationId="{05DAE1CA-E441-E1B4-0192-CB0C0625705D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4" creationId="{A9FBE4EF-833C-3762-F1B7-89D4FE5581BB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6" creationId="{3FE8788F-4F25-38C6-6158-0F1D30671B6E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7" creationId="{EBCF8BA5-F888-0A6A-2C43-54BA9FBB9B80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09" creationId="{6CE13657-3C71-B8F1-BCC3-F9E8BC12DD53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0" creationId="{C7E585B8-85F3-93AC-02E9-782A18B3C194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1" creationId="{DD50B358-2F34-6751-4446-2920F7C08061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2" creationId="{85C69ABA-E77E-D57A-1E36-823A51FD7E54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3" creationId="{6CDE7DBD-3227-7E47-1F13-A8FE9800AFAC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4" creationId="{1FA11AF4-42EA-ECA9-9B93-3217008509BF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5" creationId="{C19A1795-0D04-43DD-2A08-960F1249D90C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8" creationId="{7E6E5D8B-295F-FB66-65C7-861EA47987DC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19" creationId="{948CF201-AE69-80B7-0CC6-242357E591AD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0" creationId="{749D55C7-F223-ABF5-2DC6-E82C1B22094B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1" creationId="{BA4B3902-E4AD-B25E-3F2C-09D3FF066C2D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3" creationId="{ED2879D7-9777-2F25-2698-260BE00A088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4" creationId="{65CE2CC1-740D-E4AA-7393-E2E8CCB10D5E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5" creationId="{3A37B99D-9939-2B95-9670-1126A172230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6" creationId="{CFF1458A-9B24-CB7D-3465-E57B39A8A007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7" creationId="{9F07CE0C-39EB-77CA-24C8-BFFDDE003475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8" creationId="{20E92558-EECB-16E7-CCBA-7F94EDCDEF8F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29" creationId="{2E4D61F1-38BC-B55D-6335-251BDD82082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0" creationId="{832BFB2F-786D-7D19-0CFD-7E8479B69E42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1" creationId="{F7A79254-5602-46AF-DABC-FA0921AB9FEC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2" creationId="{95535BEA-DAAB-9730-ED00-8421B4644FF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3" creationId="{783814F7-00FB-594E-8BB2-CDE7800D1D95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4" creationId="{B6A85115-8745-719B-700A-CB4E8AFADF96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5" creationId="{99AB3F3A-8C2B-979C-010C-68FD7CD6D49A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6" creationId="{FD99C1AE-E632-523B-8992-82B0974C9A3F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7" creationId="{E7878C1E-7965-F7AF-CA17-37BD07AB5EF3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8" creationId="{0FDBA37F-6E53-45D2-9FA4-6B5776909EAD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39" creationId="{702B8805-331B-5EBA-E6FE-491FCCBB2938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40" creationId="{CFA0AA5C-85C9-2D66-C1C2-A20556316115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41" creationId="{BF1E3297-BC28-6BC2-2989-AD3D0A044F09}"/>
          </ac:spMkLst>
        </pc:spChg>
        <pc:spChg chg="add mod">
          <ac:chgData name="Fernando Enrique Nuñez Zapata" userId="4887fb29-3871-42a7-b0aa-ea8d45a5c181" providerId="ADAL" clId="{37C96D54-16B4-44B1-B164-EE26854F9527}" dt="2024-05-14T20:05:47.037" v="506" actId="1076"/>
          <ac:spMkLst>
            <pc:docMk/>
            <pc:sldMk cId="151272569" sldId="2147310022"/>
            <ac:spMk id="142" creationId="{4C6F4C94-B57B-D066-897F-D7085C2922D2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44" creationId="{65D76A7A-1188-B0E1-30C1-CEADF3AC8DD6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45" creationId="{31EF1669-F525-CA91-918A-D763E92F8C2B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48" creationId="{725BB15D-D5C3-AC5F-B42B-1862131F3F57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51" creationId="{13155C76-B813-72E5-EF89-4B47B0C4CB1D}"/>
          </ac:spMkLst>
        </pc:spChg>
        <pc:spChg chg="add mod">
          <ac:chgData name="Fernando Enrique Nuñez Zapata" userId="4887fb29-3871-42a7-b0aa-ea8d45a5c181" providerId="ADAL" clId="{37C96D54-16B4-44B1-B164-EE26854F9527}" dt="2024-05-14T20:12:37.097" v="693" actId="1076"/>
          <ac:spMkLst>
            <pc:docMk/>
            <pc:sldMk cId="151272569" sldId="2147310022"/>
            <ac:spMk id="152" creationId="{7EC40A4B-3D37-945A-ACA3-DEFA5C2EF5E2}"/>
          </ac:spMkLst>
        </pc:spChg>
        <pc:spChg chg="add mod">
          <ac:chgData name="Fernando Enrique Nuñez Zapata" userId="4887fb29-3871-42a7-b0aa-ea8d45a5c181" providerId="ADAL" clId="{37C96D54-16B4-44B1-B164-EE26854F9527}" dt="2024-05-14T20:15:15.244" v="709" actId="108"/>
          <ac:spMkLst>
            <pc:docMk/>
            <pc:sldMk cId="151272569" sldId="2147310022"/>
            <ac:spMk id="153" creationId="{07C70272-2B8E-FC3A-0C15-00F7CB38262B}"/>
          </ac:spMkLst>
        </pc:spChg>
        <pc:spChg chg="add mod">
          <ac:chgData name="Fernando Enrique Nuñez Zapata" userId="4887fb29-3871-42a7-b0aa-ea8d45a5c181" providerId="ADAL" clId="{37C96D54-16B4-44B1-B164-EE26854F9527}" dt="2024-05-14T20:14:43.288" v="706" actId="1076"/>
          <ac:spMkLst>
            <pc:docMk/>
            <pc:sldMk cId="151272569" sldId="2147310022"/>
            <ac:spMk id="154" creationId="{2E0FE93C-A8BB-BA45-6CC2-ADEA9C2CD01B}"/>
          </ac:spMkLst>
        </pc:spChg>
        <pc:spChg chg="add mod">
          <ac:chgData name="Fernando Enrique Nuñez Zapata" userId="4887fb29-3871-42a7-b0aa-ea8d45a5c181" providerId="ADAL" clId="{37C96D54-16B4-44B1-B164-EE26854F9527}" dt="2024-05-14T20:14:43.288" v="706" actId="1076"/>
          <ac:spMkLst>
            <pc:docMk/>
            <pc:sldMk cId="151272569" sldId="2147310022"/>
            <ac:spMk id="155" creationId="{2C13D219-22AE-2C63-5C1B-C5070DECD1DF}"/>
          </ac:spMkLst>
        </pc:spChg>
        <pc:spChg chg="add mod">
          <ac:chgData name="Fernando Enrique Nuñez Zapata" userId="4887fb29-3871-42a7-b0aa-ea8d45a5c181" providerId="ADAL" clId="{37C96D54-16B4-44B1-B164-EE26854F9527}" dt="2024-05-14T20:15:49.838" v="713" actId="108"/>
          <ac:spMkLst>
            <pc:docMk/>
            <pc:sldMk cId="151272569" sldId="2147310022"/>
            <ac:spMk id="156" creationId="{921B7394-BA3A-5B65-C924-B39F40CE2860}"/>
          </ac:spMkLst>
        </pc:spChg>
        <pc:spChg chg="add mod">
          <ac:chgData name="Fernando Enrique Nuñez Zapata" userId="4887fb29-3871-42a7-b0aa-ea8d45a5c181" providerId="ADAL" clId="{37C96D54-16B4-44B1-B164-EE26854F9527}" dt="2024-05-14T20:15:17.970" v="710" actId="108"/>
          <ac:spMkLst>
            <pc:docMk/>
            <pc:sldMk cId="151272569" sldId="2147310022"/>
            <ac:spMk id="157" creationId="{CCC9F63E-C2B5-10BE-D8AE-CF449CE64B0C}"/>
          </ac:spMkLst>
        </pc:spChg>
        <pc:spChg chg="add mod">
          <ac:chgData name="Fernando Enrique Nuñez Zapata" userId="4887fb29-3871-42a7-b0aa-ea8d45a5c181" providerId="ADAL" clId="{37C96D54-16B4-44B1-B164-EE26854F9527}" dt="2024-05-14T20:15:30.676" v="711" actId="108"/>
          <ac:spMkLst>
            <pc:docMk/>
            <pc:sldMk cId="151272569" sldId="2147310022"/>
            <ac:spMk id="158" creationId="{8F1F13A2-C70A-1A58-2000-A4B7F70ABA20}"/>
          </ac:spMkLst>
        </pc:spChg>
        <pc:spChg chg="add mod">
          <ac:chgData name="Fernando Enrique Nuñez Zapata" userId="4887fb29-3871-42a7-b0aa-ea8d45a5c181" providerId="ADAL" clId="{37C96D54-16B4-44B1-B164-EE26854F9527}" dt="2024-05-14T20:14:55.344" v="708" actId="1076"/>
          <ac:spMkLst>
            <pc:docMk/>
            <pc:sldMk cId="151272569" sldId="2147310022"/>
            <ac:spMk id="159" creationId="{B3FC801B-B60A-26E4-4EF8-04B5C298928F}"/>
          </ac:spMkLst>
        </pc:spChg>
        <pc:spChg chg="add mod">
          <ac:chgData name="Fernando Enrique Nuñez Zapata" userId="4887fb29-3871-42a7-b0aa-ea8d45a5c181" providerId="ADAL" clId="{37C96D54-16B4-44B1-B164-EE26854F9527}" dt="2024-05-14T20:15:52.706" v="714" actId="108"/>
          <ac:spMkLst>
            <pc:docMk/>
            <pc:sldMk cId="151272569" sldId="2147310022"/>
            <ac:spMk id="160" creationId="{F7EFBB34-8928-D4BF-58FC-692F951EA41D}"/>
          </ac:spMkLst>
        </pc:spChg>
        <pc:spChg chg="add mod">
          <ac:chgData name="Fernando Enrique Nuñez Zapata" userId="4887fb29-3871-42a7-b0aa-ea8d45a5c181" providerId="ADAL" clId="{37C96D54-16B4-44B1-B164-EE26854F9527}" dt="2024-05-14T20:14:55.344" v="708" actId="1076"/>
          <ac:spMkLst>
            <pc:docMk/>
            <pc:sldMk cId="151272569" sldId="2147310022"/>
            <ac:spMk id="161" creationId="{9204FCEA-9283-5E2C-200C-03910A017C7D}"/>
          </ac:spMkLst>
        </pc:spChg>
        <pc:spChg chg="add mod">
          <ac:chgData name="Fernando Enrique Nuñez Zapata" userId="4887fb29-3871-42a7-b0aa-ea8d45a5c181" providerId="ADAL" clId="{37C96D54-16B4-44B1-B164-EE26854F9527}" dt="2024-05-14T20:15:33.334" v="712" actId="108"/>
          <ac:spMkLst>
            <pc:docMk/>
            <pc:sldMk cId="151272569" sldId="2147310022"/>
            <ac:spMk id="162" creationId="{018A350C-BE3E-F244-DA6B-C5A874F0C7B5}"/>
          </ac:spMkLst>
        </pc:spChg>
        <pc:spChg chg="add mod">
          <ac:chgData name="Fernando Enrique Nuñez Zapata" userId="4887fb29-3871-42a7-b0aa-ea8d45a5c181" providerId="ADAL" clId="{37C96D54-16B4-44B1-B164-EE26854F9527}" dt="2024-05-14T20:16:09.350" v="716" actId="108"/>
          <ac:spMkLst>
            <pc:docMk/>
            <pc:sldMk cId="151272569" sldId="2147310022"/>
            <ac:spMk id="163" creationId="{64C88104-E387-ECCC-7369-8A5817B90C98}"/>
          </ac:spMkLst>
        </pc:spChg>
        <pc:spChg chg="add mod">
          <ac:chgData name="Fernando Enrique Nuñez Zapata" userId="4887fb29-3871-42a7-b0aa-ea8d45a5c181" providerId="ADAL" clId="{37C96D54-16B4-44B1-B164-EE26854F9527}" dt="2024-05-15T20:18:44.702" v="1149" actId="108"/>
          <ac:spMkLst>
            <pc:docMk/>
            <pc:sldMk cId="151272569" sldId="2147310022"/>
            <ac:spMk id="164" creationId="{FA2B8F61-A6EC-E0E5-18CC-584523B93759}"/>
          </ac:spMkLst>
        </pc:spChg>
        <pc:spChg chg="add mod">
          <ac:chgData name="Fernando Enrique Nuñez Zapata" userId="4887fb29-3871-42a7-b0aa-ea8d45a5c181" providerId="ADAL" clId="{37C96D54-16B4-44B1-B164-EE26854F9527}" dt="2024-05-14T20:19:05.094" v="837" actId="1076"/>
          <ac:spMkLst>
            <pc:docMk/>
            <pc:sldMk cId="151272569" sldId="2147310022"/>
            <ac:spMk id="165" creationId="{7D4962F4-FF45-0017-6D88-0F9B5F2E2B17}"/>
          </ac:spMkLst>
        </pc:spChg>
        <pc:spChg chg="add mod">
          <ac:chgData name="Fernando Enrique Nuñez Zapata" userId="4887fb29-3871-42a7-b0aa-ea8d45a5c181" providerId="ADAL" clId="{37C96D54-16B4-44B1-B164-EE26854F9527}" dt="2024-05-14T20:19:05.094" v="837" actId="1076"/>
          <ac:spMkLst>
            <pc:docMk/>
            <pc:sldMk cId="151272569" sldId="2147310022"/>
            <ac:spMk id="166" creationId="{FB02C92E-B0DF-D17B-FA84-7D075FBF007F}"/>
          </ac:spMkLst>
        </pc:spChg>
        <pc:spChg chg="add mod">
          <ac:chgData name="Fernando Enrique Nuñez Zapata" userId="4887fb29-3871-42a7-b0aa-ea8d45a5c181" providerId="ADAL" clId="{37C96D54-16B4-44B1-B164-EE26854F9527}" dt="2024-05-14T20:19:05.094" v="837" actId="1076"/>
          <ac:spMkLst>
            <pc:docMk/>
            <pc:sldMk cId="151272569" sldId="2147310022"/>
            <ac:spMk id="167" creationId="{DD1E7DB8-18CF-D0D0-09D5-9D8CC9212C58}"/>
          </ac:spMkLst>
        </pc:spChg>
        <pc:spChg chg="add mod">
          <ac:chgData name="Fernando Enrique Nuñez Zapata" userId="4887fb29-3871-42a7-b0aa-ea8d45a5c181" providerId="ADAL" clId="{37C96D54-16B4-44B1-B164-EE26854F9527}" dt="2024-05-14T20:28:47.300" v="845" actId="108"/>
          <ac:spMkLst>
            <pc:docMk/>
            <pc:sldMk cId="151272569" sldId="2147310022"/>
            <ac:spMk id="168" creationId="{F65253C9-D54F-4674-D6C2-069738BD2D7A}"/>
          </ac:spMkLst>
        </pc:spChg>
        <pc:spChg chg="add mod">
          <ac:chgData name="Fernando Enrique Nuñez Zapata" userId="4887fb29-3871-42a7-b0aa-ea8d45a5c181" providerId="ADAL" clId="{37C96D54-16B4-44B1-B164-EE26854F9527}" dt="2024-05-15T20:13:48.460" v="1147" actId="108"/>
          <ac:spMkLst>
            <pc:docMk/>
            <pc:sldMk cId="151272569" sldId="2147310022"/>
            <ac:spMk id="169" creationId="{B4FE227A-D54A-BACB-206B-B46C1360FB31}"/>
          </ac:spMkLst>
        </pc:spChg>
        <pc:spChg chg="add mod">
          <ac:chgData name="Fernando Enrique Nuñez Zapata" userId="4887fb29-3871-42a7-b0aa-ea8d45a5c181" providerId="ADAL" clId="{37C96D54-16B4-44B1-B164-EE26854F9527}" dt="2024-05-14T20:29:53.273" v="847" actId="108"/>
          <ac:spMkLst>
            <pc:docMk/>
            <pc:sldMk cId="151272569" sldId="2147310022"/>
            <ac:spMk id="170" creationId="{12B01A11-BD18-7836-BF21-08BE03F45504}"/>
          </ac:spMkLst>
        </pc:spChg>
        <pc:spChg chg="add mod">
          <ac:chgData name="Fernando Enrique Nuñez Zapata" userId="4887fb29-3871-42a7-b0aa-ea8d45a5c181" providerId="ADAL" clId="{37C96D54-16B4-44B1-B164-EE26854F9527}" dt="2024-05-14T20:19:16.197" v="839" actId="1076"/>
          <ac:spMkLst>
            <pc:docMk/>
            <pc:sldMk cId="151272569" sldId="2147310022"/>
            <ac:spMk id="171" creationId="{35596050-7AA7-3878-FD48-999DB97CA95D}"/>
          </ac:spMkLst>
        </pc:spChg>
        <pc:spChg chg="add mod">
          <ac:chgData name="Fernando Enrique Nuñez Zapata" userId="4887fb29-3871-42a7-b0aa-ea8d45a5c181" providerId="ADAL" clId="{37C96D54-16B4-44B1-B164-EE26854F9527}" dt="2024-05-14T20:28:55.065" v="846" actId="108"/>
          <ac:spMkLst>
            <pc:docMk/>
            <pc:sldMk cId="151272569" sldId="2147310022"/>
            <ac:spMk id="172" creationId="{42103EE9-381E-60EE-AE3C-95903082BEF0}"/>
          </ac:spMkLst>
        </pc:spChg>
        <pc:spChg chg="add mod">
          <ac:chgData name="Fernando Enrique Nuñez Zapata" userId="4887fb29-3871-42a7-b0aa-ea8d45a5c181" providerId="ADAL" clId="{37C96D54-16B4-44B1-B164-EE26854F9527}" dt="2024-05-14T20:19:16.197" v="839" actId="1076"/>
          <ac:spMkLst>
            <pc:docMk/>
            <pc:sldMk cId="151272569" sldId="2147310022"/>
            <ac:spMk id="173" creationId="{2E3D2B8C-202F-DD4E-E21A-2EB69A951A00}"/>
          </ac:spMkLst>
        </pc:spChg>
        <pc:spChg chg="add mod">
          <ac:chgData name="Fernando Enrique Nuñez Zapata" userId="4887fb29-3871-42a7-b0aa-ea8d45a5c181" providerId="ADAL" clId="{37C96D54-16B4-44B1-B164-EE26854F9527}" dt="2024-05-15T20:04:34.361" v="1146" actId="108"/>
          <ac:spMkLst>
            <pc:docMk/>
            <pc:sldMk cId="151272569" sldId="2147310022"/>
            <ac:spMk id="174" creationId="{B5BCE2A8-B9B0-EE16-27CA-C157DCFDF875}"/>
          </ac:spMkLst>
        </pc:spChg>
        <pc:spChg chg="add mod">
          <ac:chgData name="Fernando Enrique Nuñez Zapata" userId="4887fb29-3871-42a7-b0aa-ea8d45a5c181" providerId="ADAL" clId="{37C96D54-16B4-44B1-B164-EE26854F9527}" dt="2024-05-15T20:19:24.093" v="1150" actId="108"/>
          <ac:spMkLst>
            <pc:docMk/>
            <pc:sldMk cId="151272569" sldId="2147310022"/>
            <ac:spMk id="175" creationId="{72099964-0251-2A6A-7B06-A8486E9CFCBD}"/>
          </ac:spMkLst>
        </pc:spChg>
        <pc:spChg chg="add mod">
          <ac:chgData name="Fernando Enrique Nuñez Zapata" userId="4887fb29-3871-42a7-b0aa-ea8d45a5c181" providerId="ADAL" clId="{37C96D54-16B4-44B1-B164-EE26854F9527}" dt="2024-05-15T20:18:23.653" v="1148" actId="108"/>
          <ac:spMkLst>
            <pc:docMk/>
            <pc:sldMk cId="151272569" sldId="2147310022"/>
            <ac:spMk id="176" creationId="{DF27E57B-4F49-166F-5075-B05F051CBE39}"/>
          </ac:spMkLst>
        </pc:sp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5" creationId="{DA1C83D6-99FC-F8D0-1859-C65F8BC9EC62}"/>
          </ac:graphicFrameMkLst>
        </pc:graphicFrameChg>
        <pc:graphicFrameChg chg="del modGraphic">
          <ac:chgData name="Fernando Enrique Nuñez Zapata" userId="4887fb29-3871-42a7-b0aa-ea8d45a5c181" providerId="ADAL" clId="{37C96D54-16B4-44B1-B164-EE26854F9527}" dt="2024-05-14T20:11:14.529" v="681" actId="478"/>
          <ac:graphicFrameMkLst>
            <pc:docMk/>
            <pc:sldMk cId="151272569" sldId="2147310022"/>
            <ac:graphicFrameMk id="10" creationId="{A1BEEFB0-C75B-91E8-8C11-09A32F9D4EE0}"/>
          </ac:graphicFrameMkLst>
        </pc:graphicFrameChg>
        <pc:graphicFrameChg chg="add del modGraphic">
          <ac:chgData name="Fernando Enrique Nuñez Zapata" userId="4887fb29-3871-42a7-b0aa-ea8d45a5c181" providerId="ADAL" clId="{37C96D54-16B4-44B1-B164-EE26854F9527}" dt="2024-05-14T20:10:16.242" v="677" actId="20577"/>
          <ac:graphicFrameMkLst>
            <pc:docMk/>
            <pc:sldMk cId="151272569" sldId="2147310022"/>
            <ac:graphicFrameMk id="14" creationId="{7769D7E9-3C10-8AF6-827F-35BBF6905CB5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20.155" v="683" actId="478"/>
          <ac:graphicFrameMkLst>
            <pc:docMk/>
            <pc:sldMk cId="151272569" sldId="2147310022"/>
            <ac:graphicFrameMk id="15" creationId="{BD829682-FE43-8DF9-EC8B-CED9514F0D7F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25.115" v="686" actId="478"/>
          <ac:graphicFrameMkLst>
            <pc:docMk/>
            <pc:sldMk cId="151272569" sldId="2147310022"/>
            <ac:graphicFrameMk id="16" creationId="{437230CB-F2D3-7828-B7F5-F05A3DB20A6F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28.121" v="688" actId="478"/>
          <ac:graphicFrameMkLst>
            <pc:docMk/>
            <pc:sldMk cId="151272569" sldId="2147310022"/>
            <ac:graphicFrameMk id="18" creationId="{6D03DD77-B200-947A-CFA2-BD4907493C03}"/>
          </ac:graphicFrameMkLst>
        </pc:graphicFrameChg>
        <pc:graphicFrameChg chg="modGraphic">
          <ac:chgData name="Fernando Enrique Nuñez Zapata" userId="4887fb29-3871-42a7-b0aa-ea8d45a5c181" providerId="ADAL" clId="{37C96D54-16B4-44B1-B164-EE26854F9527}" dt="2024-05-16T15:38:47.166" v="1556" actId="20577"/>
          <ac:graphicFrameMkLst>
            <pc:docMk/>
            <pc:sldMk cId="151272569" sldId="2147310022"/>
            <ac:graphicFrameMk id="24" creationId="{CEB09712-9160-9EEB-727B-50729D1044B5}"/>
          </ac:graphicFrameMkLst>
        </pc:graphicFrameChg>
        <pc:graphicFrameChg chg="modGraphic">
          <ac:chgData name="Fernando Enrique Nuñez Zapata" userId="4887fb29-3871-42a7-b0aa-ea8d45a5c181" providerId="ADAL" clId="{37C96D54-16B4-44B1-B164-EE26854F9527}" dt="2024-05-16T15:35:48.643" v="1547" actId="20577"/>
          <ac:graphicFrameMkLst>
            <pc:docMk/>
            <pc:sldMk cId="151272569" sldId="2147310022"/>
            <ac:graphicFrameMk id="27" creationId="{BF48D986-5F64-22F8-333D-F7068F1D9553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20:06:14.400" v="536" actId="1035"/>
          <ac:graphicFrameMkLst>
            <pc:docMk/>
            <pc:sldMk cId="151272569" sldId="2147310022"/>
            <ac:graphicFrameMk id="30" creationId="{F44A659A-03E2-6AB6-E7DA-F04AFCDAFF10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4T20:06:34.417" v="566" actId="1035"/>
          <ac:graphicFrameMkLst>
            <pc:docMk/>
            <pc:sldMk cId="151272569" sldId="2147310022"/>
            <ac:graphicFrameMk id="33" creationId="{BDC101B2-ED77-E281-A5E7-3DF1DC6B5E7D}"/>
          </ac:graphicFrameMkLst>
        </pc:graphicFrameChg>
        <pc:graphicFrameChg chg="add del mod modGraphic">
          <ac:chgData name="Fernando Enrique Nuñez Zapata" userId="4887fb29-3871-42a7-b0aa-ea8d45a5c181" providerId="ADAL" clId="{37C96D54-16B4-44B1-B164-EE26854F9527}" dt="2024-05-15T20:03:45.527" v="1133" actId="20577"/>
          <ac:graphicFrameMkLst>
            <pc:docMk/>
            <pc:sldMk cId="151272569" sldId="2147310022"/>
            <ac:graphicFrameMk id="41" creationId="{4CF19EB1-6B53-88BC-3AD3-34E957F9A87E}"/>
          </ac:graphicFrameMkLst>
        </pc:graphicFrameChg>
        <pc:graphicFrameChg chg="add del">
          <ac:chgData name="Fernando Enrique Nuñez Zapata" userId="4887fb29-3871-42a7-b0aa-ea8d45a5c181" providerId="ADAL" clId="{37C96D54-16B4-44B1-B164-EE26854F9527}" dt="2024-05-14T20:05:48.322" v="508" actId="478"/>
          <ac:graphicFrameMkLst>
            <pc:docMk/>
            <pc:sldMk cId="151272569" sldId="2147310022"/>
            <ac:graphicFrameMk id="42" creationId="{DF06844F-3A85-AD17-9491-304085CAA132}"/>
          </ac:graphicFrameMkLst>
        </pc:graphicFrameChg>
        <pc:graphicFrameChg chg="add del mod modGraphic">
          <ac:chgData name="Fernando Enrique Nuñez Zapata" userId="4887fb29-3871-42a7-b0aa-ea8d45a5c181" providerId="ADAL" clId="{37C96D54-16B4-44B1-B164-EE26854F9527}" dt="2024-05-15T20:31:09.238" v="1158" actId="20577"/>
          <ac:graphicFrameMkLst>
            <pc:docMk/>
            <pc:sldMk cId="151272569" sldId="2147310022"/>
            <ac:graphicFrameMk id="71" creationId="{8DBF60AE-214D-38EE-15A0-BEE5F12BE0A7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29.562" v="689" actId="478"/>
          <ac:graphicFrameMkLst>
            <pc:docMk/>
            <pc:sldMk cId="151272569" sldId="2147310022"/>
            <ac:graphicFrameMk id="72" creationId="{67D4666B-539E-BCC0-E62C-F33398515539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4T20:11:33.366" v="691" actId="478"/>
          <ac:graphicFrameMkLst>
            <pc:docMk/>
            <pc:sldMk cId="151272569" sldId="2147310022"/>
            <ac:graphicFrameMk id="95" creationId="{89CD6A3D-4D43-CF2F-8A20-9FF69033510E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05" creationId="{B9B2A4AA-AAB7-0848-5D47-1FCF385DFFEF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08" creationId="{C903CAD6-23A9-4FC2-593C-93F16E99A8D6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16" creationId="{B3195DE6-5C19-6A91-0892-69AC585A34BB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17" creationId="{CC8C8CBF-860B-1484-3F94-95901CB3AA35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05:47.037" v="506" actId="1076"/>
          <ac:graphicFrameMkLst>
            <pc:docMk/>
            <pc:sldMk cId="151272569" sldId="2147310022"/>
            <ac:graphicFrameMk id="122" creationId="{A0B5BE9C-5F4D-C6BD-D14C-EBB39A947F11}"/>
          </ac:graphicFrameMkLst>
        </pc:graphicFrameChg>
        <pc:graphicFrameChg chg="add mod ord">
          <ac:chgData name="Fernando Enrique Nuñez Zapata" userId="4887fb29-3871-42a7-b0aa-ea8d45a5c181" providerId="ADAL" clId="{37C96D54-16B4-44B1-B164-EE26854F9527}" dt="2024-05-14T20:16:43.048" v="717" actId="167"/>
          <ac:graphicFrameMkLst>
            <pc:docMk/>
            <pc:sldMk cId="151272569" sldId="2147310022"/>
            <ac:graphicFrameMk id="143" creationId="{05B8484F-1948-5E89-3E51-9C6747C87AC9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4T20:12:37.097" v="693" actId="1076"/>
          <ac:graphicFrameMkLst>
            <pc:docMk/>
            <pc:sldMk cId="151272569" sldId="2147310022"/>
            <ac:graphicFrameMk id="146" creationId="{2455AA1C-D278-0982-96BA-739E20EE6CD4}"/>
          </ac:graphicFrameMkLst>
        </pc:graphicFrameChg>
        <pc:graphicFrameChg chg="add mod ord">
          <ac:chgData name="Fernando Enrique Nuñez Zapata" userId="4887fb29-3871-42a7-b0aa-ea8d45a5c181" providerId="ADAL" clId="{37C96D54-16B4-44B1-B164-EE26854F9527}" dt="2024-05-14T20:17:08.158" v="723" actId="167"/>
          <ac:graphicFrameMkLst>
            <pc:docMk/>
            <pc:sldMk cId="151272569" sldId="2147310022"/>
            <ac:graphicFrameMk id="147" creationId="{450A55D5-C142-1D2A-6DEA-F978E6DB4C82}"/>
          </ac:graphicFrameMkLst>
        </pc:graphicFrameChg>
        <pc:graphicFrameChg chg="add mod ord modGraphic">
          <ac:chgData name="Fernando Enrique Nuñez Zapata" userId="4887fb29-3871-42a7-b0aa-ea8d45a5c181" providerId="ADAL" clId="{37C96D54-16B4-44B1-B164-EE26854F9527}" dt="2024-05-15T20:03:51.803" v="1145" actId="20577"/>
          <ac:graphicFrameMkLst>
            <pc:docMk/>
            <pc:sldMk cId="151272569" sldId="2147310022"/>
            <ac:graphicFrameMk id="149" creationId="{D841D7EB-14E5-A790-9A49-7AA487A7AD79}"/>
          </ac:graphicFrameMkLst>
        </pc:graphicFrameChg>
        <pc:graphicFrameChg chg="add mod ord">
          <ac:chgData name="Fernando Enrique Nuñez Zapata" userId="4887fb29-3871-42a7-b0aa-ea8d45a5c181" providerId="ADAL" clId="{37C96D54-16B4-44B1-B164-EE26854F9527}" dt="2024-05-14T20:17:47.199" v="732" actId="167"/>
          <ac:graphicFrameMkLst>
            <pc:docMk/>
            <pc:sldMk cId="151272569" sldId="2147310022"/>
            <ac:graphicFrameMk id="150" creationId="{16B119F3-F704-CD25-E624-F70760222E6D}"/>
          </ac:graphicFrameMkLst>
        </pc:graphicFrameChg>
        <pc:picChg chg="add del">
          <ac:chgData name="Fernando Enrique Nuñez Zapata" userId="4887fb29-3871-42a7-b0aa-ea8d45a5c181" providerId="ADAL" clId="{37C96D54-16B4-44B1-B164-EE26854F9527}" dt="2024-05-14T20:09:54.887" v="675" actId="478"/>
          <ac:picMkLst>
            <pc:docMk/>
            <pc:sldMk cId="151272569" sldId="2147310022"/>
            <ac:picMk id="19" creationId="{456A1A60-CC3A-2DC2-F502-15CD05686235}"/>
          </ac:picMkLst>
        </pc:picChg>
      </pc:sldChg>
      <pc:sldChg chg="addSp delSp modSp add mod">
        <pc:chgData name="Fernando Enrique Nuñez Zapata" userId="4887fb29-3871-42a7-b0aa-ea8d45a5c181" providerId="ADAL" clId="{37C96D54-16B4-44B1-B164-EE26854F9527}" dt="2024-05-16T14:59:47.965" v="1189" actId="1076"/>
        <pc:sldMkLst>
          <pc:docMk/>
          <pc:sldMk cId="3772216284" sldId="2147310023"/>
        </pc:sldMkLst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4" creationId="{04E43BBB-EA3E-3DDB-703F-BAA56C74AD1D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7" creationId="{82F30E2E-4977-1265-1A3D-D94DC686357F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9" creationId="{4ED63805-5BE0-FEAD-D302-14D9EB1A0EAE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10" creationId="{1F8C62CE-5585-2AAC-99BF-93AB8D7080A4}"/>
          </ac:spMkLst>
        </pc:spChg>
        <pc:spChg chg="mod ord">
          <ac:chgData name="Fernando Enrique Nuñez Zapata" userId="4887fb29-3871-42a7-b0aa-ea8d45a5c181" providerId="ADAL" clId="{37C96D54-16B4-44B1-B164-EE26854F9527}" dt="2024-05-15T18:18:14.970" v="1089" actId="167"/>
          <ac:spMkLst>
            <pc:docMk/>
            <pc:sldMk cId="3772216284" sldId="2147310023"/>
            <ac:spMk id="11" creationId="{0FA3F142-40A5-149A-EFA0-D68F2A7B17C4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0" creationId="{AC6B803E-94E0-35E0-B51B-07C00C789ADB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1" creationId="{20AD9757-39DA-3B1C-AD63-40330654CD06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2" creationId="{2CE931B5-3748-DDDE-60AA-2F9C04678BCA}"/>
          </ac:spMkLst>
        </pc:spChg>
        <pc:spChg chg="mod">
          <ac:chgData name="Fernando Enrique Nuñez Zapata" userId="4887fb29-3871-42a7-b0aa-ea8d45a5c181" providerId="ADAL" clId="{37C96D54-16B4-44B1-B164-EE26854F9527}" dt="2024-05-15T18:14:09.466" v="1056" actId="1076"/>
          <ac:spMkLst>
            <pc:docMk/>
            <pc:sldMk cId="3772216284" sldId="2147310023"/>
            <ac:spMk id="23" creationId="{DA8DED9F-196D-2B97-7FC0-B8775D127742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6" creationId="{5382A627-FC6C-DA7C-9A6A-08AE68626876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7" creationId="{58E23F92-9A62-D3A4-1FE2-3529B6DB7DBD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8" creationId="{EA449AF5-028F-F2DA-6746-EA3415C9FB3E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29" creationId="{0DA9DC56-81B7-4999-CB65-AFB91031845A}"/>
          </ac:spMkLst>
        </pc:spChg>
        <pc:spChg chg="del mod">
          <ac:chgData name="Fernando Enrique Nuñez Zapata" userId="4887fb29-3871-42a7-b0aa-ea8d45a5c181" providerId="ADAL" clId="{37C96D54-16B4-44B1-B164-EE26854F9527}" dt="2024-05-15T18:20:22.094" v="1104" actId="478"/>
          <ac:spMkLst>
            <pc:docMk/>
            <pc:sldMk cId="3772216284" sldId="2147310023"/>
            <ac:spMk id="30" creationId="{464DA85C-B417-70D8-A89B-2B69AB01AAF1}"/>
          </ac:spMkLst>
        </pc:spChg>
        <pc:spChg chg="add mod">
          <ac:chgData name="Fernando Enrique Nuñez Zapata" userId="4887fb29-3871-42a7-b0aa-ea8d45a5c181" providerId="ADAL" clId="{37C96D54-16B4-44B1-B164-EE26854F9527}" dt="2024-05-15T18:14:29.068" v="1058" actId="1076"/>
          <ac:spMkLst>
            <pc:docMk/>
            <pc:sldMk cId="3772216284" sldId="2147310023"/>
            <ac:spMk id="35" creationId="{9E42AC9D-29FE-1754-F645-744932110CDA}"/>
          </ac:spMkLst>
        </pc:spChg>
        <pc:spChg chg="add mod">
          <ac:chgData name="Fernando Enrique Nuñez Zapata" userId="4887fb29-3871-42a7-b0aa-ea8d45a5c181" providerId="ADAL" clId="{37C96D54-16B4-44B1-B164-EE26854F9527}" dt="2024-05-15T18:14:39.606" v="1060" actId="1076"/>
          <ac:spMkLst>
            <pc:docMk/>
            <pc:sldMk cId="3772216284" sldId="2147310023"/>
            <ac:spMk id="36" creationId="{6A424463-CECE-B37B-2FFD-0B23118173DB}"/>
          </ac:spMkLst>
        </pc:spChg>
        <pc:spChg chg="add mod">
          <ac:chgData name="Fernando Enrique Nuñez Zapata" userId="4887fb29-3871-42a7-b0aa-ea8d45a5c181" providerId="ADAL" clId="{37C96D54-16B4-44B1-B164-EE26854F9527}" dt="2024-05-15T18:14:39.606" v="1060" actId="1076"/>
          <ac:spMkLst>
            <pc:docMk/>
            <pc:sldMk cId="3772216284" sldId="2147310023"/>
            <ac:spMk id="37" creationId="{6A130874-A72A-1D1B-57C2-E9C52F2A8246}"/>
          </ac:spMkLst>
        </pc:spChg>
        <pc:spChg chg="add mod">
          <ac:chgData name="Fernando Enrique Nuñez Zapata" userId="4887fb29-3871-42a7-b0aa-ea8d45a5c181" providerId="ADAL" clId="{37C96D54-16B4-44B1-B164-EE26854F9527}" dt="2024-05-15T18:14:58.011" v="1062" actId="1076"/>
          <ac:spMkLst>
            <pc:docMk/>
            <pc:sldMk cId="3772216284" sldId="2147310023"/>
            <ac:spMk id="38" creationId="{5A1F96E1-EC0F-1581-7748-395B7F506362}"/>
          </ac:spMkLst>
        </pc:spChg>
        <pc:spChg chg="add mod">
          <ac:chgData name="Fernando Enrique Nuñez Zapata" userId="4887fb29-3871-42a7-b0aa-ea8d45a5c181" providerId="ADAL" clId="{37C96D54-16B4-44B1-B164-EE26854F9527}" dt="2024-05-15T18:14:58.011" v="1062" actId="1076"/>
          <ac:spMkLst>
            <pc:docMk/>
            <pc:sldMk cId="3772216284" sldId="2147310023"/>
            <ac:spMk id="39" creationId="{35F75314-1C90-F23A-E96F-531C816610F4}"/>
          </ac:spMkLst>
        </pc:spChg>
        <pc:spChg chg="add mod">
          <ac:chgData name="Fernando Enrique Nuñez Zapata" userId="4887fb29-3871-42a7-b0aa-ea8d45a5c181" providerId="ADAL" clId="{37C96D54-16B4-44B1-B164-EE26854F9527}" dt="2024-05-15T18:18:24.185" v="1090" actId="108"/>
          <ac:spMkLst>
            <pc:docMk/>
            <pc:sldMk cId="3772216284" sldId="2147310023"/>
            <ac:spMk id="40" creationId="{3123BCAE-7F92-3D5E-E29C-1E094246AE1A}"/>
          </ac:spMkLst>
        </pc:spChg>
        <pc:spChg chg="add mod">
          <ac:chgData name="Fernando Enrique Nuñez Zapata" userId="4887fb29-3871-42a7-b0aa-ea8d45a5c181" providerId="ADAL" clId="{37C96D54-16B4-44B1-B164-EE26854F9527}" dt="2024-05-15T18:18:34.592" v="1091" actId="108"/>
          <ac:spMkLst>
            <pc:docMk/>
            <pc:sldMk cId="3772216284" sldId="2147310023"/>
            <ac:spMk id="41" creationId="{08667471-1BE0-5A71-8936-5D237D98C2BF}"/>
          </ac:spMkLst>
        </pc:spChg>
        <pc:spChg chg="add mod">
          <ac:chgData name="Fernando Enrique Nuñez Zapata" userId="4887fb29-3871-42a7-b0aa-ea8d45a5c181" providerId="ADAL" clId="{37C96D54-16B4-44B1-B164-EE26854F9527}" dt="2024-05-15T18:18:37.971" v="1092" actId="108"/>
          <ac:spMkLst>
            <pc:docMk/>
            <pc:sldMk cId="3772216284" sldId="2147310023"/>
            <ac:spMk id="42" creationId="{E7D3F981-03C9-639F-2A22-4BC337BCE00E}"/>
          </ac:spMkLst>
        </pc:spChg>
        <pc:spChg chg="add mod">
          <ac:chgData name="Fernando Enrique Nuñez Zapata" userId="4887fb29-3871-42a7-b0aa-ea8d45a5c181" providerId="ADAL" clId="{37C96D54-16B4-44B1-B164-EE26854F9527}" dt="2024-05-15T18:18:41.665" v="1093" actId="108"/>
          <ac:spMkLst>
            <pc:docMk/>
            <pc:sldMk cId="3772216284" sldId="2147310023"/>
            <ac:spMk id="43" creationId="{5FA5B37C-48DF-D849-870D-DF3D1AE03DF8}"/>
          </ac:spMkLst>
        </pc:spChg>
        <pc:spChg chg="add mod">
          <ac:chgData name="Fernando Enrique Nuñez Zapata" userId="4887fb29-3871-42a7-b0aa-ea8d45a5c181" providerId="ADAL" clId="{37C96D54-16B4-44B1-B164-EE26854F9527}" dt="2024-05-15T18:18:45.560" v="1094" actId="108"/>
          <ac:spMkLst>
            <pc:docMk/>
            <pc:sldMk cId="3772216284" sldId="2147310023"/>
            <ac:spMk id="44" creationId="{AF7628A0-0D37-6691-66A1-1599CA3055E4}"/>
          </ac:spMkLst>
        </pc:spChg>
        <pc:spChg chg="add mod">
          <ac:chgData name="Fernando Enrique Nuñez Zapata" userId="4887fb29-3871-42a7-b0aa-ea8d45a5c181" providerId="ADAL" clId="{37C96D54-16B4-44B1-B164-EE26854F9527}" dt="2024-05-15T18:18:49.488" v="1095" actId="108"/>
          <ac:spMkLst>
            <pc:docMk/>
            <pc:sldMk cId="3772216284" sldId="2147310023"/>
            <ac:spMk id="45" creationId="{8C54FB6E-EF03-2DE4-8F98-4791E1E4D1B2}"/>
          </ac:spMkLst>
        </pc:spChg>
        <pc:spChg chg="add mod">
          <ac:chgData name="Fernando Enrique Nuñez Zapata" userId="4887fb29-3871-42a7-b0aa-ea8d45a5c181" providerId="ADAL" clId="{37C96D54-16B4-44B1-B164-EE26854F9527}" dt="2024-05-15T18:18:53.084" v="1096" actId="108"/>
          <ac:spMkLst>
            <pc:docMk/>
            <pc:sldMk cId="3772216284" sldId="2147310023"/>
            <ac:spMk id="46" creationId="{4F601CBA-190E-542C-E096-5BAC609D98BA}"/>
          </ac:spMkLst>
        </pc:spChg>
        <pc:spChg chg="add mod">
          <ac:chgData name="Fernando Enrique Nuñez Zapata" userId="4887fb29-3871-42a7-b0aa-ea8d45a5c181" providerId="ADAL" clId="{37C96D54-16B4-44B1-B164-EE26854F9527}" dt="2024-05-15T18:18:58.778" v="1097" actId="108"/>
          <ac:spMkLst>
            <pc:docMk/>
            <pc:sldMk cId="3772216284" sldId="2147310023"/>
            <ac:spMk id="47" creationId="{A98736AE-D9DF-7029-7FDE-4B24882AA0D4}"/>
          </ac:spMkLst>
        </pc:spChg>
        <pc:spChg chg="add mod">
          <ac:chgData name="Fernando Enrique Nuñez Zapata" userId="4887fb29-3871-42a7-b0aa-ea8d45a5c181" providerId="ADAL" clId="{37C96D54-16B4-44B1-B164-EE26854F9527}" dt="2024-05-15T18:19:45.519" v="1099" actId="108"/>
          <ac:spMkLst>
            <pc:docMk/>
            <pc:sldMk cId="3772216284" sldId="2147310023"/>
            <ac:spMk id="48" creationId="{DFEB877A-DB87-F7AA-710B-C5BF1E732C37}"/>
          </ac:spMkLst>
        </pc:spChg>
        <pc:spChg chg="add mod">
          <ac:chgData name="Fernando Enrique Nuñez Zapata" userId="4887fb29-3871-42a7-b0aa-ea8d45a5c181" providerId="ADAL" clId="{37C96D54-16B4-44B1-B164-EE26854F9527}" dt="2024-05-15T18:19:56.722" v="1100" actId="207"/>
          <ac:spMkLst>
            <pc:docMk/>
            <pc:sldMk cId="3772216284" sldId="2147310023"/>
            <ac:spMk id="49" creationId="{8F04C817-D971-84FD-4403-5DB4F2986CE5}"/>
          </ac:spMkLst>
        </pc:spChg>
        <pc:spChg chg="add mod">
          <ac:chgData name="Fernando Enrique Nuñez Zapata" userId="4887fb29-3871-42a7-b0aa-ea8d45a5c181" providerId="ADAL" clId="{37C96D54-16B4-44B1-B164-EE26854F9527}" dt="2024-05-15T18:19:56.722" v="1100" actId="207"/>
          <ac:spMkLst>
            <pc:docMk/>
            <pc:sldMk cId="3772216284" sldId="2147310023"/>
            <ac:spMk id="50" creationId="{7871D6BB-9FD2-2CA4-9031-AF7CC0330CAE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1" creationId="{1A69F1D4-6244-CDEB-FC01-3BBEA9C8E742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2" creationId="{5892E663-9BB1-4FE7-8FB0-57A4734E96FB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3" creationId="{83E9A641-C222-C462-9A2D-CD47705DFD8B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4" creationId="{C5300AF6-B4A2-5850-B9D9-F6CFA3083AF5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5" creationId="{168E355C-1B33-5B5F-230A-471DAA493A94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6" creationId="{CDAF9A90-6755-D5C3-8AD5-5528873EAC88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7" creationId="{3497D0FD-89E9-5CA3-DE73-23309F0448F9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8" creationId="{F7E67AD8-3860-BD57-3587-37074E2F73D1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59" creationId="{DBFE98E2-3CE1-0960-3883-BD7CBCD78B1C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60" creationId="{90AF64C6-C90A-32C6-21EE-7512B6911AFA}"/>
          </ac:spMkLst>
        </pc:spChg>
        <pc:spChg chg="add mod">
          <ac:chgData name="Fernando Enrique Nuñez Zapata" userId="4887fb29-3871-42a7-b0aa-ea8d45a5c181" providerId="ADAL" clId="{37C96D54-16B4-44B1-B164-EE26854F9527}" dt="2024-05-15T18:17:15.301" v="1084" actId="1035"/>
          <ac:spMkLst>
            <pc:docMk/>
            <pc:sldMk cId="3772216284" sldId="2147310023"/>
            <ac:spMk id="61" creationId="{A273CC35-64FF-C0D3-FBCD-EC2DBABB35CE}"/>
          </ac:spMkLst>
        </pc:spChg>
        <pc:spChg chg="add mod">
          <ac:chgData name="Fernando Enrique Nuñez Zapata" userId="4887fb29-3871-42a7-b0aa-ea8d45a5c181" providerId="ADAL" clId="{37C96D54-16B4-44B1-B164-EE26854F9527}" dt="2024-05-15T18:19:56.722" v="1100" actId="207"/>
          <ac:spMkLst>
            <pc:docMk/>
            <pc:sldMk cId="3772216284" sldId="2147310023"/>
            <ac:spMk id="62" creationId="{FCBB9158-F81E-BFFF-8B06-A8E57F30B9D3}"/>
          </ac:spMkLst>
        </pc:spChg>
        <pc:spChg chg="add mod">
          <ac:chgData name="Fernando Enrique Nuñez Zapata" userId="4887fb29-3871-42a7-b0aa-ea8d45a5c181" providerId="ADAL" clId="{37C96D54-16B4-44B1-B164-EE26854F9527}" dt="2024-05-15T18:20:02.743" v="1101" actId="207"/>
          <ac:spMkLst>
            <pc:docMk/>
            <pc:sldMk cId="3772216284" sldId="2147310023"/>
            <ac:spMk id="63" creationId="{70099065-DEEE-6263-B829-A1915A236BDE}"/>
          </ac:spMkLst>
        </pc:spChg>
        <pc:graphicFrameChg chg="add mod">
          <ac:chgData name="Fernando Enrique Nuñez Zapata" userId="4887fb29-3871-42a7-b0aa-ea8d45a5c181" providerId="ADAL" clId="{37C96D54-16B4-44B1-B164-EE26854F9527}" dt="2024-05-15T17:58:56.468" v="908"/>
          <ac:graphicFrameMkLst>
            <pc:docMk/>
            <pc:sldMk cId="3772216284" sldId="2147310023"/>
            <ac:graphicFrameMk id="3" creationId="{789F839E-C69D-D1C3-D5E8-17E59516938A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6T14:57:19.860" v="1177" actId="478"/>
          <ac:graphicFrameMkLst>
            <pc:docMk/>
            <pc:sldMk cId="3772216284" sldId="2147310023"/>
            <ac:graphicFrameMk id="6" creationId="{22CCBEB1-523D-5192-9F01-A04F4178FA74}"/>
          </ac:graphicFrameMkLst>
        </pc:graphicFrameChg>
        <pc:graphicFrameChg chg="add del mod modGraphic">
          <ac:chgData name="Fernando Enrique Nuñez Zapata" userId="4887fb29-3871-42a7-b0aa-ea8d45a5c181" providerId="ADAL" clId="{37C96D54-16B4-44B1-B164-EE26854F9527}" dt="2024-05-15T17:59:48.897" v="919" actId="478"/>
          <ac:graphicFrameMkLst>
            <pc:docMk/>
            <pc:sldMk cId="3772216284" sldId="2147310023"/>
            <ac:graphicFrameMk id="6" creationId="{C42A87BA-6D7E-26A0-CE50-0FAA39B21285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6T14:58:42.114" v="1181" actId="1076"/>
          <ac:graphicFrameMkLst>
            <pc:docMk/>
            <pc:sldMk cId="3772216284" sldId="2147310023"/>
            <ac:graphicFrameMk id="7" creationId="{E5668EFB-481D-09C8-D888-32896691CAD7}"/>
          </ac:graphicFrameMkLst>
        </pc:graphicFrameChg>
        <pc:graphicFrameChg chg="add mod">
          <ac:chgData name="Fernando Enrique Nuñez Zapata" userId="4887fb29-3871-42a7-b0aa-ea8d45a5c181" providerId="ADAL" clId="{37C96D54-16B4-44B1-B164-EE26854F9527}" dt="2024-05-16T14:59:47.965" v="1189" actId="1076"/>
          <ac:graphicFrameMkLst>
            <pc:docMk/>
            <pc:sldMk cId="3772216284" sldId="2147310023"/>
            <ac:graphicFrameMk id="9" creationId="{6C64FAD1-F14C-0112-3B80-3A7E5CEA3047}"/>
          </ac:graphicFrameMkLst>
        </pc:graphicFrameChg>
        <pc:graphicFrameChg chg="del">
          <ac:chgData name="Fernando Enrique Nuñez Zapata" userId="4887fb29-3871-42a7-b0aa-ea8d45a5c181" providerId="ADAL" clId="{37C96D54-16B4-44B1-B164-EE26854F9527}" dt="2024-05-15T17:58:46.498" v="906" actId="478"/>
          <ac:graphicFrameMkLst>
            <pc:docMk/>
            <pc:sldMk cId="3772216284" sldId="2147310023"/>
            <ac:graphicFrameMk id="13" creationId="{BC0710D6-135E-EDE0-0A2D-C2D70100BF45}"/>
          </ac:graphicFrameMkLst>
        </pc:graphicFrameChg>
        <pc:graphicFrameChg chg="add mod modGraphic">
          <ac:chgData name="Fernando Enrique Nuñez Zapata" userId="4887fb29-3871-42a7-b0aa-ea8d45a5c181" providerId="ADAL" clId="{37C96D54-16B4-44B1-B164-EE26854F9527}" dt="2024-05-15T18:00:41.911" v="926" actId="1076"/>
          <ac:graphicFrameMkLst>
            <pc:docMk/>
            <pc:sldMk cId="3772216284" sldId="2147310023"/>
            <ac:graphicFrameMk id="25" creationId="{5D64456C-43C2-F98D-5391-A781D8068E68}"/>
          </ac:graphicFrameMkLst>
        </pc:graphicFrameChg>
        <pc:graphicFrameChg chg="add mod ord modGraphic">
          <ac:chgData name="Fernando Enrique Nuñez Zapata" userId="4887fb29-3871-42a7-b0aa-ea8d45a5c181" providerId="ADAL" clId="{37C96D54-16B4-44B1-B164-EE26854F9527}" dt="2024-05-15T21:14:31.317" v="1171" actId="20577"/>
          <ac:graphicFrameMkLst>
            <pc:docMk/>
            <pc:sldMk cId="3772216284" sldId="2147310023"/>
            <ac:graphicFrameMk id="31" creationId="{C290A6DF-541E-00AC-D43F-B2CBD417EE2F}"/>
          </ac:graphicFrameMkLst>
        </pc:graphicFrameChg>
        <pc:graphicFrameChg chg="add del mod">
          <ac:chgData name="Fernando Enrique Nuñez Zapata" userId="4887fb29-3871-42a7-b0aa-ea8d45a5c181" providerId="ADAL" clId="{37C96D54-16B4-44B1-B164-EE26854F9527}" dt="2024-05-15T18:08:43.795" v="968" actId="478"/>
          <ac:graphicFrameMkLst>
            <pc:docMk/>
            <pc:sldMk cId="3772216284" sldId="2147310023"/>
            <ac:graphicFrameMk id="32" creationId="{2B21E42B-7BEB-6E31-E859-548699BE1C49}"/>
          </ac:graphicFrameMkLst>
        </pc:graphicFrameChg>
        <pc:picChg chg="add del mod modCrop">
          <ac:chgData name="Fernando Enrique Nuñez Zapata" userId="4887fb29-3871-42a7-b0aa-ea8d45a5c181" providerId="ADAL" clId="{37C96D54-16B4-44B1-B164-EE26854F9527}" dt="2024-05-16T14:59:15.195" v="1182" actId="478"/>
          <ac:picMkLst>
            <pc:docMk/>
            <pc:sldMk cId="3772216284" sldId="2147310023"/>
            <ac:picMk id="3" creationId="{0B380A58-E40E-6FEB-CE0B-4E99B2D34CA5}"/>
          </ac:picMkLst>
        </pc:picChg>
        <pc:picChg chg="add del mod">
          <ac:chgData name="Fernando Enrique Nuñez Zapata" userId="4887fb29-3871-42a7-b0aa-ea8d45a5c181" providerId="ADAL" clId="{37C96D54-16B4-44B1-B164-EE26854F9527}" dt="2024-05-16T14:56:50.349" v="1172" actId="478"/>
          <ac:picMkLst>
            <pc:docMk/>
            <pc:sldMk cId="3772216284" sldId="2147310023"/>
            <ac:picMk id="34" creationId="{A79D59EB-F713-7D49-ED5C-74BF203C2378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AC3ED-77F0-4128-A12B-AB568D08BCB3}" type="datetimeFigureOut">
              <a:rPr lang="es-PE" smtClean="0"/>
              <a:t>19/09/2024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5706BB-D155-4F1E-8070-E46C80C56B5B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2134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0431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E77EB-2A0F-460A-8A65-2063451B2DA7}" type="slidenum">
              <a:rPr lang="es-PE" smtClean="0"/>
              <a:t>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53904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5706BB-D155-4F1E-8070-E46C80C56B5B}" type="slidenum">
              <a:rPr lang="es-PE" smtClean="0"/>
              <a:t>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156052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F45B2A-D67D-4619-AD39-431228FB9C55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223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1621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1_Blank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7"/>
          <p:cNvSpPr txBox="1">
            <a:spLocks noGrp="1"/>
          </p:cNvSpPr>
          <p:nvPr>
            <p:ph type="sldNum" idx="12"/>
          </p:nvPr>
        </p:nvSpPr>
        <p:spPr>
          <a:xfrm>
            <a:off x="11296188" y="6217550"/>
            <a:ext cx="731629" cy="524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6075" tIns="116075" rIns="116075" bIns="1160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1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Nº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34121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94198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s-ES_tradnl" sz="2000" dirty="0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s-ES_tradnl" err="1"/>
              <a:t>Click</a:t>
            </a:r>
            <a:r>
              <a:rPr lang="es-ES_tradnl"/>
              <a:t> to </a:t>
            </a:r>
            <a:r>
              <a:rPr lang="es-ES_tradnl" err="1"/>
              <a:t>add</a:t>
            </a:r>
            <a:r>
              <a:rPr lang="es-ES_tradnl"/>
              <a:t> </a:t>
            </a:r>
            <a:r>
              <a:rPr lang="es-ES_tradnl" err="1"/>
              <a:t>subtitle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8291121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6B98E-9FFB-4EDA-B93E-707B6BD877D8}" type="datetimeFigureOut">
              <a:rPr lang="es-PE" smtClean="0"/>
              <a:t>19/09/2024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53F25C-245E-4E76-9C53-6D796477067C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79458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013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6" r:id="rId3"/>
    <p:sldLayoutId id="2147483667" r:id="rId4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06">
          <p15:clr>
            <a:srgbClr val="F26B43"/>
          </p15:clr>
        </p15:guide>
        <p15:guide id="2" pos="439">
          <p15:clr>
            <a:srgbClr val="F26B43"/>
          </p15:clr>
        </p15:guide>
        <p15:guide id="3" pos="7265">
          <p15:clr>
            <a:srgbClr val="F26B43"/>
          </p15:clr>
        </p15:guide>
        <p15:guide id="4" orient="horz" pos="414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pos="257">
          <p15:clr>
            <a:srgbClr val="F26B43"/>
          </p15:clr>
        </p15:guide>
        <p15:guide id="8" pos="74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756" y="-47421"/>
            <a:ext cx="12200756" cy="6905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1376A77D-6A9A-4FC4-9576-F36B259B2757}"/>
              </a:ext>
            </a:extLst>
          </p:cNvPr>
          <p:cNvSpPr/>
          <p:nvPr/>
        </p:nvSpPr>
        <p:spPr>
          <a:xfrm>
            <a:off x="8757" y="2527766"/>
            <a:ext cx="6277744" cy="664711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C518A69-8B92-40B8-8179-06F7197CE2EE}"/>
              </a:ext>
            </a:extLst>
          </p:cNvPr>
          <p:cNvSpPr/>
          <p:nvPr/>
        </p:nvSpPr>
        <p:spPr>
          <a:xfrm>
            <a:off x="8755" y="3179046"/>
            <a:ext cx="4492907" cy="444302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-8756" y="5870303"/>
            <a:ext cx="12200756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C1C3BDA6-F148-4974-BA76-529C76DF05CA}"/>
              </a:ext>
            </a:extLst>
          </p:cNvPr>
          <p:cNvSpPr/>
          <p:nvPr/>
        </p:nvSpPr>
        <p:spPr>
          <a:xfrm>
            <a:off x="1" y="2514322"/>
            <a:ext cx="352925" cy="1109026"/>
          </a:xfrm>
          <a:prstGeom prst="rect">
            <a:avLst/>
          </a:prstGeom>
          <a:solidFill>
            <a:srgbClr val="9BAC49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D3164E09-C29D-A0E6-2D16-CA62BABACA11}"/>
              </a:ext>
            </a:extLst>
          </p:cNvPr>
          <p:cNvSpPr txBox="1">
            <a:spLocks/>
          </p:cNvSpPr>
          <p:nvPr/>
        </p:nvSpPr>
        <p:spPr>
          <a:xfrm>
            <a:off x="352926" y="2587295"/>
            <a:ext cx="8571618" cy="109558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Mesa TMO Estratégica – </a:t>
            </a:r>
            <a:r>
              <a:rPr lang="es-MX" sz="3200" b="1"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TEA</a:t>
            </a:r>
            <a:br>
              <a:rPr kumimoji="0" lang="es-MX" sz="32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</a:br>
            <a:r>
              <a:rPr kumimoji="0" lang="es-MX" sz="2800" b="0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Comité de seguimiento</a:t>
            </a:r>
            <a:endParaRPr kumimoji="0" lang="es-ES" sz="2000" b="0" i="1" u="none" strike="noStrike" kern="1200" cap="none" spc="0" normalizeH="0" baseline="0" noProof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EEBF140-B757-413E-7EC8-737EE86AFB77}"/>
              </a:ext>
            </a:extLst>
          </p:cNvPr>
          <p:cNvSpPr txBox="1"/>
          <p:nvPr/>
        </p:nvSpPr>
        <p:spPr>
          <a:xfrm>
            <a:off x="352926" y="3621861"/>
            <a:ext cx="610076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i="1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19 </a:t>
            </a:r>
            <a:r>
              <a:rPr kumimoji="0" lang="es-ES" sz="16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de </a:t>
            </a:r>
            <a:r>
              <a:rPr lang="es-ES" sz="1600" i="1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Septiembre </a:t>
            </a:r>
            <a:r>
              <a:rPr kumimoji="0" lang="es-ES" sz="16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+mn-ea"/>
                <a:cs typeface="Arial"/>
              </a:rPr>
              <a:t>de </a:t>
            </a:r>
            <a:r>
              <a:rPr lang="es-ES" sz="1600" i="1">
                <a:solidFill>
                  <a:prstClr val="white">
                    <a:lumMod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/>
                <a:cs typeface="Arial"/>
              </a:rPr>
              <a:t>2024</a:t>
            </a:r>
            <a:endParaRPr lang="es-PE" sz="1600"/>
          </a:p>
        </p:txBody>
      </p:sp>
    </p:spTree>
    <p:extLst>
      <p:ext uri="{BB962C8B-B14F-4D97-AF65-F5344CB8AC3E}">
        <p14:creationId xmlns:p14="http://schemas.microsoft.com/office/powerpoint/2010/main" val="252570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hoja de palma que cubre la sombra del sol">
            <a:extLst>
              <a:ext uri="{FF2B5EF4-FFF2-40B4-BE49-F238E27FC236}">
                <a16:creationId xmlns:a16="http://schemas.microsoft.com/office/drawing/2014/main" id="{B237B882-B24D-4633-AB42-D9661F0EAA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563" r="13003"/>
          <a:stretch/>
        </p:blipFill>
        <p:spPr bwMode="auto">
          <a:xfrm>
            <a:off x="0" y="-16763"/>
            <a:ext cx="4086652" cy="6891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23080DEC-7E92-4557-A24F-AE2B643E63EA}"/>
              </a:ext>
            </a:extLst>
          </p:cNvPr>
          <p:cNvSpPr/>
          <p:nvPr/>
        </p:nvSpPr>
        <p:spPr>
          <a:xfrm>
            <a:off x="0" y="1064224"/>
            <a:ext cx="3775816" cy="557700"/>
          </a:xfrm>
          <a:prstGeom prst="rect">
            <a:avLst/>
          </a:prstGeom>
          <a:solidFill>
            <a:schemeClr val="tx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Agenda</a:t>
            </a:r>
            <a:endParaRPr kumimoji="0" lang="es-PE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  <p:graphicFrame>
        <p:nvGraphicFramePr>
          <p:cNvPr id="2" name="Tabla 5">
            <a:extLst>
              <a:ext uri="{FF2B5EF4-FFF2-40B4-BE49-F238E27FC236}">
                <a16:creationId xmlns:a16="http://schemas.microsoft.com/office/drawing/2014/main" id="{75F28477-55F2-A417-EBF1-D61943C64A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7292608"/>
              </p:ext>
            </p:extLst>
          </p:nvPr>
        </p:nvGraphicFramePr>
        <p:xfrm>
          <a:off x="4824641" y="1064224"/>
          <a:ext cx="6379977" cy="29387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3451">
                  <a:extLst>
                    <a:ext uri="{9D8B030D-6E8A-4147-A177-3AD203B41FA5}">
                      <a16:colId xmlns:a16="http://schemas.microsoft.com/office/drawing/2014/main" val="2070259349"/>
                    </a:ext>
                  </a:extLst>
                </a:gridCol>
                <a:gridCol w="4533900">
                  <a:extLst>
                    <a:ext uri="{9D8B030D-6E8A-4147-A177-3AD203B41FA5}">
                      <a16:colId xmlns:a16="http://schemas.microsoft.com/office/drawing/2014/main" val="3187608087"/>
                    </a:ext>
                  </a:extLst>
                </a:gridCol>
                <a:gridCol w="1202626">
                  <a:extLst>
                    <a:ext uri="{9D8B030D-6E8A-4147-A177-3AD203B41FA5}">
                      <a16:colId xmlns:a16="http://schemas.microsoft.com/office/drawing/2014/main" val="177199676"/>
                    </a:ext>
                  </a:extLst>
                </a:gridCol>
              </a:tblGrid>
              <a:tr h="773368">
                <a:tc>
                  <a:txBody>
                    <a:bodyPr/>
                    <a:lstStyle/>
                    <a:p>
                      <a:r>
                        <a:rPr lang="es-PE" sz="1400" b="1">
                          <a:solidFill>
                            <a:srgbClr val="74AD2B"/>
                          </a:solidFill>
                          <a:latin typeface="Open Sans" panose="020B0606030504020204"/>
                        </a:rPr>
                        <a:t>01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1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Act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1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469116"/>
                  </a:ext>
                </a:extLst>
              </a:tr>
              <a:tr h="2165418">
                <a:tc>
                  <a:txBody>
                    <a:bodyPr/>
                    <a:lstStyle/>
                    <a:p>
                      <a:r>
                        <a:rPr lang="es-MX" sz="1400" b="1">
                          <a:solidFill>
                            <a:srgbClr val="74AD2B"/>
                          </a:solidFill>
                          <a:latin typeface="Open Sans" panose="020B0606030504020204"/>
                        </a:rPr>
                        <a:t>02</a:t>
                      </a:r>
                      <a:endParaRPr lang="es-PE" sz="1400" b="1">
                        <a:solidFill>
                          <a:srgbClr val="74AD2B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400" b="1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Presentación de KPI’s y Avance de iniciativas en ejecución por sede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400" b="1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R"/>
                        <a:tabLst/>
                        <a:defRPr/>
                      </a:pPr>
                      <a:r>
                        <a:rPr lang="es-MX" sz="1400" b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Palmawasi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R"/>
                        <a:tabLst/>
                        <a:defRPr/>
                      </a:pPr>
                      <a:r>
                        <a:rPr lang="es-MX" sz="1400" b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Shanusi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R"/>
                        <a:tabLst/>
                        <a:defRPr/>
                      </a:pPr>
                      <a:r>
                        <a:rPr lang="es-MX" sz="1400" b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Tulumayo</a:t>
                      </a:r>
                    </a:p>
                    <a:p>
                      <a:pPr marL="342900" marR="0" lvl="0" indent="-3429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R"/>
                      </a:pPr>
                      <a:r>
                        <a:rPr lang="es-MX" sz="1400" b="0">
                          <a:solidFill>
                            <a:schemeClr val="tx1"/>
                          </a:solidFill>
                          <a:latin typeface="Open Sans" panose="020B0606030504020204"/>
                        </a:rPr>
                        <a:t>Nuevo Horizonte 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R"/>
                        <a:tabLst/>
                        <a:defRPr/>
                      </a:pPr>
                      <a:endParaRPr lang="es-PE" sz="1400" b="1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0">
                        <a:solidFill>
                          <a:schemeClr val="tx1"/>
                        </a:solidFill>
                        <a:latin typeface="Open Sans" panose="020B0606030504020204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279243"/>
                  </a:ext>
                </a:extLst>
              </a:tr>
            </a:tbl>
          </a:graphicData>
        </a:graphic>
      </p:graphicFrame>
      <p:pic>
        <p:nvPicPr>
          <p:cNvPr id="4" name="Imagen 3">
            <a:extLst>
              <a:ext uri="{FF2B5EF4-FFF2-40B4-BE49-F238E27FC236}">
                <a16:creationId xmlns:a16="http://schemas.microsoft.com/office/drawing/2014/main" id="{D9C91419-7A68-5B8E-65D4-BEF49D55484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224283"/>
            <a:ext cx="1213816" cy="560154"/>
          </a:xfrm>
          <a:prstGeom prst="rect">
            <a:avLst/>
          </a:prstGeom>
        </p:spPr>
      </p:pic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8AF38F8B-D08C-54D8-4BDD-6BF55D880C48}"/>
              </a:ext>
            </a:extLst>
          </p:cNvPr>
          <p:cNvSpPr txBox="1">
            <a:spLocks/>
          </p:cNvSpPr>
          <p:nvPr/>
        </p:nvSpPr>
        <p:spPr>
          <a:xfrm>
            <a:off x="11751221" y="6659890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700" b="1" i="0" u="none" strike="noStrike" kern="1200" cap="none" spc="-5" normalizeH="0" baseline="0" noProof="0" smtClean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PE" sz="700" b="1" i="0" u="none" strike="noStrike" kern="1200" cap="none" spc="-5" normalizeH="0" baseline="0" noProof="0">
              <a:ln>
                <a:noFill/>
              </a:ln>
              <a:effectLst/>
              <a:uLnTx/>
              <a:uFillTx/>
              <a:latin typeface="Arial Narrow" panose="020B0606020202030204" pitchFamily="34" charset="0"/>
              <a:cs typeface="Verdana"/>
            </a:endParaRPr>
          </a:p>
        </p:txBody>
      </p:sp>
      <p:sp>
        <p:nvSpPr>
          <p:cNvPr id="6" name="Marcador de número de diapositiva 9">
            <a:extLst>
              <a:ext uri="{FF2B5EF4-FFF2-40B4-BE49-F238E27FC236}">
                <a16:creationId xmlns:a16="http://schemas.microsoft.com/office/drawing/2014/main" id="{558369C2-EC91-E83E-56D7-20E5C1E6DDD0}"/>
              </a:ext>
            </a:extLst>
          </p:cNvPr>
          <p:cNvSpPr txBox="1">
            <a:spLocks/>
          </p:cNvSpPr>
          <p:nvPr/>
        </p:nvSpPr>
        <p:spPr>
          <a:xfrm>
            <a:off x="117632" y="6702723"/>
            <a:ext cx="4793416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Grupo Palmas </a:t>
            </a:r>
            <a:r>
              <a:rPr kumimoji="0" lang="es-ES" sz="70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| Mesa TMO Estratégica - TEA</a:t>
            </a:r>
          </a:p>
        </p:txBody>
      </p:sp>
    </p:spTree>
    <p:extLst>
      <p:ext uri="{BB962C8B-B14F-4D97-AF65-F5344CB8AC3E}">
        <p14:creationId xmlns:p14="http://schemas.microsoft.com/office/powerpoint/2010/main" val="3730778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FDE135-18E7-AB66-0A03-0D335AF56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FDE135-18E7-AB66-0A03-0D335AF5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24" name="Picture 4" descr="plantas de hojas verdes">
            <a:extLst>
              <a:ext uri="{FF2B5EF4-FFF2-40B4-BE49-F238E27FC236}">
                <a16:creationId xmlns:a16="http://schemas.microsoft.com/office/drawing/2014/main" id="{BCBFEE64-C4FC-4E5F-AC51-4F639E82E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3261" y="0"/>
            <a:ext cx="103126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7790BCA1-5CA1-4E77-A366-86D242AC26A4}"/>
              </a:ext>
            </a:extLst>
          </p:cNvPr>
          <p:cNvSpPr/>
          <p:nvPr/>
        </p:nvSpPr>
        <p:spPr>
          <a:xfrm>
            <a:off x="1242318" y="2851294"/>
            <a:ext cx="5154967" cy="2478885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82DD656-1854-405B-B64B-B3B0D5FA37F6}"/>
              </a:ext>
            </a:extLst>
          </p:cNvPr>
          <p:cNvSpPr/>
          <p:nvPr/>
        </p:nvSpPr>
        <p:spPr>
          <a:xfrm>
            <a:off x="8021053" y="0"/>
            <a:ext cx="4170947" cy="6858000"/>
          </a:xfrm>
          <a:prstGeom prst="rect">
            <a:avLst/>
          </a:prstGeom>
          <a:solidFill>
            <a:srgbClr val="8EB523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7DDC521-171C-43DC-9EEE-8C2738BBFFE5}"/>
              </a:ext>
            </a:extLst>
          </p:cNvPr>
          <p:cNvSpPr/>
          <p:nvPr/>
        </p:nvSpPr>
        <p:spPr>
          <a:xfrm>
            <a:off x="1098318" y="0"/>
            <a:ext cx="144000" cy="54741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510815-B53A-49F3-B16E-FBCCCEAFD65D}"/>
              </a:ext>
            </a:extLst>
          </p:cNvPr>
          <p:cNvSpPr/>
          <p:nvPr/>
        </p:nvSpPr>
        <p:spPr>
          <a:xfrm>
            <a:off x="6397287" y="2707293"/>
            <a:ext cx="144000" cy="4150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A2B2CBB-8AE5-4F73-BE3E-8483DEF580D4}"/>
              </a:ext>
            </a:extLst>
          </p:cNvPr>
          <p:cNvSpPr/>
          <p:nvPr/>
        </p:nvSpPr>
        <p:spPr>
          <a:xfrm rot="5400000">
            <a:off x="3190623" y="-499372"/>
            <a:ext cx="144000" cy="6557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88588EB-58E5-4099-8499-C3D5B9145103}"/>
              </a:ext>
            </a:extLst>
          </p:cNvPr>
          <p:cNvSpPr/>
          <p:nvPr/>
        </p:nvSpPr>
        <p:spPr>
          <a:xfrm rot="5400000">
            <a:off x="6580991" y="-136830"/>
            <a:ext cx="144000" cy="11078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5656B9B7-95EA-4463-BA34-9D6AB6FF4E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86318" y="3904625"/>
            <a:ext cx="4278986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8163" indent="-274638">
              <a:lnSpc>
                <a:spcPct val="100000"/>
              </a:lnSpc>
              <a:spcBef>
                <a:spcPts val="105"/>
              </a:spcBef>
              <a:buClr>
                <a:srgbClr val="FFFFFF"/>
              </a:buClr>
            </a:pPr>
            <a:r>
              <a:rPr lang="es-MX" sz="1800" b="1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PI’s e Impacto de iniciativas </a:t>
            </a:r>
            <a:endParaRPr lang="es-MX" sz="1800" kern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object 5">
            <a:extLst>
              <a:ext uri="{FF2B5EF4-FFF2-40B4-BE49-F238E27FC236}">
                <a16:creationId xmlns:a16="http://schemas.microsoft.com/office/drawing/2014/main" id="{47DE8B9A-38C5-415E-8F5F-FDC43EF440CE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147090" y="5849719"/>
            <a:ext cx="1677502" cy="632742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7D6F8709-AD8B-ED61-081B-7F660D9C52D1}"/>
              </a:ext>
            </a:extLst>
          </p:cNvPr>
          <p:cNvSpPr txBox="1"/>
          <p:nvPr/>
        </p:nvSpPr>
        <p:spPr>
          <a:xfrm>
            <a:off x="8597599" y="633482"/>
            <a:ext cx="3017854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8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endParaRPr kumimoji="0" lang="es-PE" sz="287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Marcador de número de diapositiva 9">
            <a:extLst>
              <a:ext uri="{FF2B5EF4-FFF2-40B4-BE49-F238E27FC236}">
                <a16:creationId xmlns:a16="http://schemas.microsoft.com/office/drawing/2014/main" id="{F6931F77-382B-3915-2FA3-8B521DAA854C}"/>
              </a:ext>
            </a:extLst>
          </p:cNvPr>
          <p:cNvSpPr txBox="1">
            <a:spLocks/>
          </p:cNvSpPr>
          <p:nvPr/>
        </p:nvSpPr>
        <p:spPr>
          <a:xfrm>
            <a:off x="11751221" y="6659890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700" b="1" i="0" u="none" strike="noStrike" kern="1200" cap="none" spc="-5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PE" sz="700" b="1" i="0" u="none" strike="noStrike" kern="1200" cap="none" spc="-5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cs typeface="Verdana"/>
            </a:endParaRPr>
          </a:p>
        </p:txBody>
      </p:sp>
      <p:sp>
        <p:nvSpPr>
          <p:cNvPr id="11" name="Marcador de número de diapositiva 9">
            <a:extLst>
              <a:ext uri="{FF2B5EF4-FFF2-40B4-BE49-F238E27FC236}">
                <a16:creationId xmlns:a16="http://schemas.microsoft.com/office/drawing/2014/main" id="{B08A048D-6014-6AEA-22CD-AE3F1E242444}"/>
              </a:ext>
            </a:extLst>
          </p:cNvPr>
          <p:cNvSpPr txBox="1">
            <a:spLocks/>
          </p:cNvSpPr>
          <p:nvPr/>
        </p:nvSpPr>
        <p:spPr>
          <a:xfrm>
            <a:off x="117632" y="6702723"/>
            <a:ext cx="4793416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Grupo Palmas </a:t>
            </a:r>
            <a:r>
              <a:rPr kumimoji="0" lang="es-ES" sz="700" b="0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| Mesa TMO Estratégica - TEA</a:t>
            </a:r>
          </a:p>
        </p:txBody>
      </p:sp>
    </p:spTree>
    <p:extLst>
      <p:ext uri="{BB962C8B-B14F-4D97-AF65-F5344CB8AC3E}">
        <p14:creationId xmlns:p14="http://schemas.microsoft.com/office/powerpoint/2010/main" val="3440338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C0CD714-E937-E300-495C-3F397A7D72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185" y="149982"/>
            <a:ext cx="1213816" cy="560154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7615FE0C-E799-FE50-8E22-9CCED845BB78}"/>
              </a:ext>
            </a:extLst>
          </p:cNvPr>
          <p:cNvSpPr txBox="1"/>
          <p:nvPr/>
        </p:nvSpPr>
        <p:spPr>
          <a:xfrm>
            <a:off x="0" y="149982"/>
            <a:ext cx="1008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74AD2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denas Productivas: </a:t>
            </a: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es de acción</a:t>
            </a:r>
            <a:endParaRPr kumimoji="0" lang="es-PE" sz="2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Marcador de número de diapositiva 9">
            <a:extLst>
              <a:ext uri="{FF2B5EF4-FFF2-40B4-BE49-F238E27FC236}">
                <a16:creationId xmlns:a16="http://schemas.microsoft.com/office/drawing/2014/main" id="{46F7A913-62A5-278C-ADCD-BD6334CFBD42}"/>
              </a:ext>
            </a:extLst>
          </p:cNvPr>
          <p:cNvSpPr txBox="1">
            <a:spLocks/>
          </p:cNvSpPr>
          <p:nvPr/>
        </p:nvSpPr>
        <p:spPr>
          <a:xfrm>
            <a:off x="11751221" y="6659890"/>
            <a:ext cx="447997" cy="18569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s-PE" sz="700" b="1" i="0" u="none" strike="noStrike" kern="1200" cap="none" spc="-5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Verdana"/>
              </a:rPr>
              <a:pPr marL="381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PE" sz="700" b="1" i="0" u="none" strike="noStrike" kern="1200" cap="none" spc="-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Verdana"/>
            </a:endParaRPr>
          </a:p>
        </p:txBody>
      </p:sp>
      <p:sp>
        <p:nvSpPr>
          <p:cNvPr id="8" name="Marcador de número de diapositiva 9">
            <a:extLst>
              <a:ext uri="{FF2B5EF4-FFF2-40B4-BE49-F238E27FC236}">
                <a16:creationId xmlns:a16="http://schemas.microsoft.com/office/drawing/2014/main" id="{07998B50-257B-481E-C2C5-B06E3466B46B}"/>
              </a:ext>
            </a:extLst>
          </p:cNvPr>
          <p:cNvSpPr txBox="1">
            <a:spLocks/>
          </p:cNvSpPr>
          <p:nvPr/>
        </p:nvSpPr>
        <p:spPr>
          <a:xfrm>
            <a:off x="117632" y="6702723"/>
            <a:ext cx="4793416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50" b="0" i="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Grupo Palmas </a:t>
            </a:r>
            <a:r>
              <a:rPr kumimoji="0" lang="es-ES" sz="7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| Mesa TMO Estratégica - TEA</a:t>
            </a:r>
          </a:p>
        </p:txBody>
      </p:sp>
      <p:sp>
        <p:nvSpPr>
          <p:cNvPr id="2" name="Arrow: Right 3">
            <a:hlinkClick r:id="" action="ppaction://noaction"/>
            <a:extLst>
              <a:ext uri="{FF2B5EF4-FFF2-40B4-BE49-F238E27FC236}">
                <a16:creationId xmlns:a16="http://schemas.microsoft.com/office/drawing/2014/main" id="{12FFA99B-1C87-E420-9E17-8A5A4B97E056}"/>
              </a:ext>
            </a:extLst>
          </p:cNvPr>
          <p:cNvSpPr/>
          <p:nvPr/>
        </p:nvSpPr>
        <p:spPr>
          <a:xfrm>
            <a:off x="11832508" y="6251649"/>
            <a:ext cx="142877" cy="357188"/>
          </a:xfrm>
          <a:prstGeom prst="rightArrow">
            <a:avLst/>
          </a:prstGeom>
          <a:solidFill>
            <a:srgbClr val="ED7D3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98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22" name="Picture 6" descr="hoja de palma que cubre la sombra del sol">
            <a:extLst>
              <a:ext uri="{FF2B5EF4-FFF2-40B4-BE49-F238E27FC236}">
                <a16:creationId xmlns:a16="http://schemas.microsoft.com/office/drawing/2014/main" id="{46E3D133-0C9B-4DAA-8B1D-653A1BC1E3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590"/>
          <a:stretch/>
        </p:blipFill>
        <p:spPr bwMode="auto">
          <a:xfrm>
            <a:off x="0" y="0"/>
            <a:ext cx="12192000" cy="6843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33BD1A0-6495-47D6-A37B-D06A8E53A7A2}"/>
              </a:ext>
            </a:extLst>
          </p:cNvPr>
          <p:cNvSpPr/>
          <p:nvPr/>
        </p:nvSpPr>
        <p:spPr>
          <a:xfrm>
            <a:off x="0" y="5870303"/>
            <a:ext cx="12192000" cy="987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57FF61BE-523E-4F7B-A29A-7C31C0BF48E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85898" y="6047780"/>
            <a:ext cx="1677502" cy="632742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652B9AE2-D2B8-4513-9EC0-33D8F24989B7}"/>
              </a:ext>
            </a:extLst>
          </p:cNvPr>
          <p:cNvSpPr/>
          <p:nvPr/>
        </p:nvSpPr>
        <p:spPr>
          <a:xfrm>
            <a:off x="571264" y="6225651"/>
            <a:ext cx="8001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1" u="none" strike="noStrike" kern="1200" cap="none" spc="0" normalizeH="0" baseline="0" noProof="0">
                <a:ln>
                  <a:noFill/>
                </a:ln>
                <a:solidFill>
                  <a:srgbClr val="385620"/>
                </a:solidFill>
                <a:effectLst/>
                <a:uLnTx/>
                <a:uFillTx/>
                <a:latin typeface="Open Sans" panose="020B0606030504020204"/>
                <a:ea typeface="+mn-ea"/>
                <a:cs typeface="+mn-cs"/>
              </a:rPr>
              <a:t>“Existimos no solo para producir aceite… cultivamos desarrollo sostenible para transformar vidas.”</a:t>
            </a:r>
            <a:endParaRPr kumimoji="0" lang="es-PE" sz="1200" b="1" i="1" u="none" strike="noStrike" kern="1200" cap="none" spc="0" normalizeH="0" baseline="0" noProof="0">
              <a:ln>
                <a:noFill/>
              </a:ln>
              <a:solidFill>
                <a:srgbClr val="385620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00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 Slank">
      <a:dk1>
        <a:srgbClr val="000000"/>
      </a:dk1>
      <a:lt1>
        <a:srgbClr val="FFFFFF"/>
      </a:lt1>
      <a:dk2>
        <a:srgbClr val="394656"/>
      </a:dk2>
      <a:lt2>
        <a:srgbClr val="B4B3B2"/>
      </a:lt2>
      <a:accent1>
        <a:srgbClr val="80C56D"/>
      </a:accent1>
      <a:accent2>
        <a:srgbClr val="59B146"/>
      </a:accent2>
      <a:accent3>
        <a:srgbClr val="E1E1E1"/>
      </a:accent3>
      <a:accent4>
        <a:srgbClr val="D2D2D2"/>
      </a:accent4>
      <a:accent5>
        <a:srgbClr val="5A7182"/>
      </a:accent5>
      <a:accent6>
        <a:srgbClr val="425A66"/>
      </a:accent6>
      <a:hlink>
        <a:srgbClr val="1CADE4"/>
      </a:hlink>
      <a:folHlink>
        <a:srgbClr val="2683C6"/>
      </a:folHlink>
    </a:clrScheme>
    <a:fontScheme name="Custom 152">
      <a:majorFont>
        <a:latin typeface="Montserrat Black"/>
        <a:ea typeface=""/>
        <a:cs typeface=""/>
      </a:majorFont>
      <a:minorFont>
        <a:latin typeface="Roboto Condensed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42da593-c8e3-4f43-a24a-5994bafc55f0">
      <UserInfo>
        <DisplayName>Juan Felipe Rios Chuquital</DisplayName>
        <AccountId>119</AccountId>
        <AccountType/>
      </UserInfo>
      <UserInfo>
        <DisplayName>Cesar Diaz Huiza</DisplayName>
        <AccountId>104</AccountId>
        <AccountType/>
      </UserInfo>
      <UserInfo>
        <DisplayName>CONSULTOR BI 1 PALMAS</DisplayName>
        <AccountId>859</AccountId>
        <AccountType/>
      </UserInfo>
      <UserInfo>
        <DisplayName>Manuel Armando Delgado Quintanilla</DisplayName>
        <AccountId>905</AccountId>
        <AccountType/>
      </UserInfo>
      <UserInfo>
        <DisplayName>Cinthia Fiorella Cadenillas Acostupa</DisplayName>
        <AccountId>206</AccountId>
        <AccountType/>
      </UserInfo>
    </SharedWithUsers>
    <TaxCatchAll xmlns="742da593-c8e3-4f43-a24a-5994bafc55f0" xsi:nil="true"/>
    <lcf76f155ced4ddcb4097134ff3c332f xmlns="5863460f-0edd-4d51-aae1-8caf418b848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FCCBB09A226F24DB30E189A9F88B9FF" ma:contentTypeVersion="14" ma:contentTypeDescription="Crear nuevo documento." ma:contentTypeScope="" ma:versionID="f763b4be867a2ecd8a69a0bdba78a302">
  <xsd:schema xmlns:xsd="http://www.w3.org/2001/XMLSchema" xmlns:xs="http://www.w3.org/2001/XMLSchema" xmlns:p="http://schemas.microsoft.com/office/2006/metadata/properties" xmlns:ns2="5863460f-0edd-4d51-aae1-8caf418b848e" xmlns:ns3="742da593-c8e3-4f43-a24a-5994bafc55f0" targetNamespace="http://schemas.microsoft.com/office/2006/metadata/properties" ma:root="true" ma:fieldsID="9d6d8b76ba0ebe2fca0ccfd865bb3b36" ns2:_="" ns3:_="">
    <xsd:import namespace="5863460f-0edd-4d51-aae1-8caf418b848e"/>
    <xsd:import namespace="742da593-c8e3-4f43-a24a-5994bafc55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63460f-0edd-4d51-aae1-8caf418b84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9" nillable="true" ma:taxonomy="true" ma:internalName="lcf76f155ced4ddcb4097134ff3c332f" ma:taxonomyFieldName="MediaServiceImageTags" ma:displayName="Etiquetas de imagen" ma:readOnly="false" ma:fieldId="{5cf76f15-5ced-4ddc-b409-7134ff3c332f}" ma:taxonomyMulti="true" ma:sspId="30cf089e-44e6-4022-bf3e-ee8e30a05c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2da593-c8e3-4f43-a24a-5994bafc55f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edf44e6-4e5f-4476-bc88-3a9511e6f3d6}" ma:internalName="TaxCatchAll" ma:showField="CatchAllData" ma:web="742da593-c8e3-4f43-a24a-5994bafc55f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B42A9D-CB01-45D8-9179-DD28FAC011CB}">
  <ds:schemaRefs>
    <ds:schemaRef ds:uri="5863460f-0edd-4d51-aae1-8caf418b848e"/>
    <ds:schemaRef ds:uri="742da593-c8e3-4f43-a24a-5994bafc55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D52E7B6-5658-40C6-A802-3AB1399CAA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6D4629-4C8F-4C06-8F9B-308F087556BF}">
  <ds:schemaRefs>
    <ds:schemaRef ds:uri="5863460f-0edd-4d51-aae1-8caf418b848e"/>
    <ds:schemaRef ds:uri="742da593-c8e3-4f43-a24a-5994bafc55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8</Words>
  <Application>Microsoft Office PowerPoint</Application>
  <PresentationFormat>Panorámica</PresentationFormat>
  <Paragraphs>29</Paragraphs>
  <Slides>5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4" baseType="lpstr">
      <vt:lpstr>Arial</vt:lpstr>
      <vt:lpstr>Arial Narrow</vt:lpstr>
      <vt:lpstr>Calibri</vt:lpstr>
      <vt:lpstr>Montserrat Black</vt:lpstr>
      <vt:lpstr>Open Sans</vt:lpstr>
      <vt:lpstr>Open Sans Semibold</vt:lpstr>
      <vt:lpstr>Roboto Condensed</vt:lpstr>
      <vt:lpstr>Office Theme</vt:lpstr>
      <vt:lpstr>Diapositiva de think-cell</vt:lpstr>
      <vt:lpstr>Presentación de PowerPoint</vt:lpstr>
      <vt:lpstr>Presentación de PowerPoint</vt:lpstr>
      <vt:lpstr>KPI’s e Impacto de iniciativas 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uis Fernando Díaz del Olmo Campo</dc:creator>
  <cp:lastModifiedBy>Cesar Manuel Quezada Balcazar</cp:lastModifiedBy>
  <cp:revision>2</cp:revision>
  <cp:lastPrinted>2024-01-11T13:26:13Z</cp:lastPrinted>
  <dcterms:created xsi:type="dcterms:W3CDTF">2023-08-14T16:33:04Z</dcterms:created>
  <dcterms:modified xsi:type="dcterms:W3CDTF">2024-09-19T14:1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CCBB09A226F24DB30E189A9F88B9FF</vt:lpwstr>
  </property>
  <property fmtid="{D5CDD505-2E9C-101B-9397-08002B2CF9AE}" pid="3" name="MediaServiceImageTags">
    <vt:lpwstr/>
  </property>
</Properties>
</file>